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8.xml" ContentType="application/vnd.openxmlformats-officedocument.presentationml.tags+xml"/>
  <Override PartName="/ppt/notesSlides/notesSlide25.xml" ContentType="application/vnd.openxmlformats-officedocument.presentationml.notesSlide+xml"/>
  <Override PartName="/ppt/tags/tag19.xml" ContentType="application/vnd.openxmlformats-officedocument.presentationml.tags+xml"/>
  <Override PartName="/ppt/notesSlides/notesSlide26.xml" ContentType="application/vnd.openxmlformats-officedocument.presentationml.notesSlide+xml"/>
  <Override PartName="/ppt/tags/tag2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41"/>
  </p:notesMasterIdLst>
  <p:handoutMasterIdLst>
    <p:handoutMasterId r:id="rId42"/>
  </p:handoutMasterIdLst>
  <p:sldIdLst>
    <p:sldId id="2147481893" r:id="rId5"/>
    <p:sldId id="2147481927" r:id="rId6"/>
    <p:sldId id="2147481928" r:id="rId7"/>
    <p:sldId id="527" r:id="rId8"/>
    <p:sldId id="2147481904" r:id="rId9"/>
    <p:sldId id="2147482073" r:id="rId10"/>
    <p:sldId id="2147482089" r:id="rId11"/>
    <p:sldId id="2147481985" r:id="rId12"/>
    <p:sldId id="2147481929" r:id="rId13"/>
    <p:sldId id="2147481982" r:id="rId14"/>
    <p:sldId id="2147482012" r:id="rId15"/>
    <p:sldId id="2147482017" r:id="rId16"/>
    <p:sldId id="2147482018" r:id="rId17"/>
    <p:sldId id="2147482019" r:id="rId18"/>
    <p:sldId id="2147481984" r:id="rId19"/>
    <p:sldId id="2147482101" r:id="rId20"/>
    <p:sldId id="644" r:id="rId21"/>
    <p:sldId id="2147481987" r:id="rId22"/>
    <p:sldId id="2147482037" r:id="rId23"/>
    <p:sldId id="2147482091" r:id="rId24"/>
    <p:sldId id="2147482038" r:id="rId25"/>
    <p:sldId id="2147482007" r:id="rId26"/>
    <p:sldId id="2147482020" r:id="rId27"/>
    <p:sldId id="2147482023" r:id="rId28"/>
    <p:sldId id="2147482024" r:id="rId29"/>
    <p:sldId id="2147482034" r:id="rId30"/>
    <p:sldId id="2147482035" r:id="rId31"/>
    <p:sldId id="2147482092" r:id="rId32"/>
    <p:sldId id="2147481992" r:id="rId33"/>
    <p:sldId id="2147482100" r:id="rId34"/>
    <p:sldId id="2147481991" r:id="rId35"/>
    <p:sldId id="2147482009" r:id="rId36"/>
    <p:sldId id="2147482094" r:id="rId37"/>
    <p:sldId id="647" r:id="rId38"/>
    <p:sldId id="2147482086" r:id="rId39"/>
    <p:sldId id="2147482087" r:id="rId40"/>
  </p:sldIdLst>
  <p:sldSz cx="12192000" cy="6858000"/>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90456D42-69BA-FA00-84FF-970E8159E349}" name="Annemarija Apine (LV)" initials="A(" userId="S::annemarija.apine@pwc.com::546f5c59-3b8d-47fd-b739-a8fadc631053" providerId="AD"/>
  <p188:author id="{1BA5B6D5-6E77-E27D-0F0D-6AA42C9DA43C}" name="PwC" initials="PwC" userId="PwC"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192D"/>
    <a:srgbClr val="6F6D6C"/>
    <a:srgbClr val="D18D85"/>
    <a:srgbClr val="525A72"/>
    <a:srgbClr val="D0CFD7"/>
    <a:srgbClr val="A4A3B2"/>
    <a:srgbClr val="92D14F"/>
    <a:srgbClr val="CFD6E8"/>
    <a:srgbClr val="F2F2F2"/>
    <a:srgbClr val="FD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714" y="10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clId="Web-{1C529D0B-11CC-26DE-E9C2-D1758CDD3FCC}"/>
    <pc:docChg chg="modSld">
      <pc:chgData name="" userId="" providerId="" clId="Web-{1C529D0B-11CC-26DE-E9C2-D1758CDD3FCC}" dt="2024-07-08T02:07:04.485" v="1" actId="20577"/>
      <pc:docMkLst>
        <pc:docMk/>
      </pc:docMkLst>
      <pc:sldChg chg="modSp">
        <pc:chgData name="" userId="" providerId="" clId="Web-{1C529D0B-11CC-26DE-E9C2-D1758CDD3FCC}" dt="2024-07-08T02:07:04.485" v="1" actId="20577"/>
        <pc:sldMkLst>
          <pc:docMk/>
          <pc:sldMk cId="1373554732" sldId="2147481893"/>
        </pc:sldMkLst>
        <pc:spChg chg="mod">
          <ac:chgData name="" userId="" providerId="" clId="Web-{1C529D0B-11CC-26DE-E9C2-D1758CDD3FCC}" dt="2024-07-08T02:07:04.485" v="1" actId="20577"/>
          <ac:spMkLst>
            <pc:docMk/>
            <pc:sldMk cId="1373554732" sldId="2147481893"/>
            <ac:spMk id="26" creationId="{E7547A2F-AE9E-271D-1AF9-55BAE6CCE9CE}"/>
          </ac:spMkLst>
        </pc:spChg>
      </pc:sldChg>
    </pc:docChg>
  </pc:docChgLst>
  <pc:docChgLst>
    <pc:chgData name="Annemarija Apine (LV)" userId="546f5c59-3b8d-47fd-b739-a8fadc631053" providerId="ADAL" clId="{7965F50E-FCC4-48FB-BD2C-39113FD4CC7F}"/>
    <pc:docChg chg="custSel modSld replTag">
      <pc:chgData name="Annemarija Apine (LV)" userId="546f5c59-3b8d-47fd-b739-a8fadc631053" providerId="ADAL" clId="{7965F50E-FCC4-48FB-BD2C-39113FD4CC7F}" dt="2024-07-08T15:43:07.107" v="44"/>
      <pc:docMkLst>
        <pc:docMk/>
      </pc:docMkLst>
      <pc:sldChg chg="modCm">
        <pc:chgData name="Annemarija Apine (LV)" userId="546f5c59-3b8d-47fd-b739-a8fadc631053" providerId="ADAL" clId="{7965F50E-FCC4-48FB-BD2C-39113FD4CC7F}" dt="2024-07-08T15:42:27.405" v="35"/>
        <pc:sldMkLst>
          <pc:docMk/>
          <pc:sldMk cId="4093114022" sldId="644"/>
        </pc:sldMkLst>
        <pc:extLst>
          <p:ext xmlns:p="http://schemas.openxmlformats.org/presentationml/2006/main" uri="{D6D511B9-2390-475A-947B-AFAB55BFBCF1}">
            <pc226:cmChg xmlns:pc226="http://schemas.microsoft.com/office/powerpoint/2022/06/main/command" chg="">
              <pc226:chgData name="Annemarija Apine (LV)" userId="546f5c59-3b8d-47fd-b739-a8fadc631053" providerId="ADAL" clId="{7965F50E-FCC4-48FB-BD2C-39113FD4CC7F}" dt="2024-07-08T15:42:27.405" v="35"/>
              <pc2:cmMkLst xmlns:pc2="http://schemas.microsoft.com/office/powerpoint/2019/9/main/command">
                <pc:docMk/>
                <pc:sldMk cId="4093114022" sldId="644"/>
                <pc2:cmMk id="{CC87D69E-961E-4BF7-8885-A64FEE3F5D1C}"/>
              </pc2:cmMkLst>
              <pc226:cmRplyChg chg="add">
                <pc226:chgData name="Annemarija Apine (LV)" userId="546f5c59-3b8d-47fd-b739-a8fadc631053" providerId="ADAL" clId="{7965F50E-FCC4-48FB-BD2C-39113FD4CC7F}" dt="2024-07-08T15:42:27.405" v="35"/>
                <pc2:cmRplyMkLst xmlns:pc2="http://schemas.microsoft.com/office/powerpoint/2019/9/main/command">
                  <pc:docMk/>
                  <pc:sldMk cId="4093114022" sldId="644"/>
                  <pc2:cmMk id="{CC87D69E-961E-4BF7-8885-A64FEE3F5D1C}"/>
                  <pc2:cmRplyMk id="{49E1F113-C149-4EEF-8F18-FCAF7EE458AD}"/>
                </pc2:cmRplyMkLst>
              </pc226:cmRplyChg>
              <pc226:cmRplyChg chg="del">
                <pc226:chgData name="Annemarija Apine (LV)" userId="546f5c59-3b8d-47fd-b739-a8fadc631053" providerId="ADAL" clId="{7965F50E-FCC4-48FB-BD2C-39113FD4CC7F}" dt="2024-07-08T15:42:21.210" v="34"/>
                <pc2:cmRplyMkLst xmlns:pc2="http://schemas.microsoft.com/office/powerpoint/2019/9/main/command">
                  <pc:docMk/>
                  <pc:sldMk cId="4093114022" sldId="644"/>
                  <pc2:cmMk id="{CC87D69E-961E-4BF7-8885-A64FEE3F5D1C}"/>
                  <pc2:cmRplyMk id="{13C6B997-2FAC-4412-B76A-2F29A079A7EE}"/>
                </pc2:cmRplyMkLst>
              </pc226:cmRplyChg>
            </pc226:cmChg>
          </p:ext>
        </pc:extLst>
      </pc:sldChg>
      <pc:sldChg chg="delCm">
        <pc:chgData name="Annemarija Apine (LV)" userId="546f5c59-3b8d-47fd-b739-a8fadc631053" providerId="ADAL" clId="{7965F50E-FCC4-48FB-BD2C-39113FD4CC7F}" dt="2024-07-08T15:39:17.345" v="2"/>
        <pc:sldMkLst>
          <pc:docMk/>
          <pc:sldMk cId="3627720504" sldId="2147481927"/>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7965F50E-FCC4-48FB-BD2C-39113FD4CC7F}" dt="2024-07-08T15:39:17.345" v="2"/>
              <pc2:cmMkLst xmlns:pc2="http://schemas.microsoft.com/office/powerpoint/2019/9/main/command">
                <pc:docMk/>
                <pc:sldMk cId="3627720504" sldId="2147481927"/>
                <pc2:cmMk id="{92B10945-D063-4ABB-A735-F8650C6D12F6}"/>
              </pc2:cmMkLst>
            </pc226:cmChg>
          </p:ext>
        </pc:extLst>
      </pc:sldChg>
      <pc:sldChg chg="modSp mod modCm">
        <pc:chgData name="Annemarija Apine (LV)" userId="546f5c59-3b8d-47fd-b739-a8fadc631053" providerId="ADAL" clId="{7965F50E-FCC4-48FB-BD2C-39113FD4CC7F}" dt="2024-07-08T15:40:37.861" v="26"/>
        <pc:sldMkLst>
          <pc:docMk/>
          <pc:sldMk cId="2214180997" sldId="2147481982"/>
        </pc:sldMkLst>
        <pc:spChg chg="mod">
          <ac:chgData name="Annemarija Apine (LV)" userId="546f5c59-3b8d-47fd-b739-a8fadc631053" providerId="ADAL" clId="{7965F50E-FCC4-48FB-BD2C-39113FD4CC7F}" dt="2024-07-08T15:40:01.738" v="8" actId="1035"/>
          <ac:spMkLst>
            <pc:docMk/>
            <pc:sldMk cId="2214180997" sldId="2147481982"/>
            <ac:spMk id="68" creationId="{DC58C25F-8110-0C29-4A50-5DADA78B621C}"/>
          </ac:spMkLst>
        </pc:spChg>
        <pc:extLst>
          <p:ext xmlns:p="http://schemas.openxmlformats.org/presentationml/2006/main" uri="{D6D511B9-2390-475A-947B-AFAB55BFBCF1}">
            <pc226:cmChg xmlns:pc226="http://schemas.microsoft.com/office/powerpoint/2022/06/main/command" chg="">
              <pc226:chgData name="Annemarija Apine (LV)" userId="546f5c59-3b8d-47fd-b739-a8fadc631053" providerId="ADAL" clId="{7965F50E-FCC4-48FB-BD2C-39113FD4CC7F}" dt="2024-07-08T15:40:37.861" v="26"/>
              <pc2:cmMkLst xmlns:pc2="http://schemas.microsoft.com/office/powerpoint/2019/9/main/command">
                <pc:docMk/>
                <pc:sldMk cId="2214180997" sldId="2147481982"/>
                <pc2:cmMk id="{C4AC9989-EF57-4649-B8EA-CA1106933571}"/>
              </pc2:cmMkLst>
              <pc226:cmRplyChg chg="add mod">
                <pc226:chgData name="Annemarija Apine (LV)" userId="546f5c59-3b8d-47fd-b739-a8fadc631053" providerId="ADAL" clId="{7965F50E-FCC4-48FB-BD2C-39113FD4CC7F}" dt="2024-07-08T15:40:37.861" v="26"/>
                <pc2:cmRplyMkLst xmlns:pc2="http://schemas.microsoft.com/office/powerpoint/2019/9/main/command">
                  <pc:docMk/>
                  <pc:sldMk cId="2214180997" sldId="2147481982"/>
                  <pc2:cmMk id="{C4AC9989-EF57-4649-B8EA-CA1106933571}"/>
                  <pc2:cmRplyMk id="{21E1E25F-D0D2-4827-9439-7D6268BC7CC5}"/>
                </pc2:cmRplyMkLst>
              </pc226:cmRplyChg>
            </pc226:cmChg>
            <pc226:cmChg xmlns:pc226="http://schemas.microsoft.com/office/powerpoint/2022/06/main/command" chg="">
              <pc226:chgData name="Annemarija Apine (LV)" userId="546f5c59-3b8d-47fd-b739-a8fadc631053" providerId="ADAL" clId="{7965F50E-FCC4-48FB-BD2C-39113FD4CC7F}" dt="2024-07-08T15:39:49.155" v="5"/>
              <pc2:cmMkLst xmlns:pc2="http://schemas.microsoft.com/office/powerpoint/2019/9/main/command">
                <pc:docMk/>
                <pc:sldMk cId="2214180997" sldId="2147481982"/>
                <pc2:cmMk id="{AE6F57BF-8C1D-4D08-B0C7-8837B5033847}"/>
              </pc2:cmMkLst>
              <pc226:cmRplyChg chg="add">
                <pc226:chgData name="Annemarija Apine (LV)" userId="546f5c59-3b8d-47fd-b739-a8fadc631053" providerId="ADAL" clId="{7965F50E-FCC4-48FB-BD2C-39113FD4CC7F}" dt="2024-07-08T15:39:49.155" v="5"/>
                <pc2:cmRplyMkLst xmlns:pc2="http://schemas.microsoft.com/office/powerpoint/2019/9/main/command">
                  <pc:docMk/>
                  <pc:sldMk cId="2214180997" sldId="2147481982"/>
                  <pc2:cmMk id="{AE6F57BF-8C1D-4D08-B0C7-8837B5033847}"/>
                  <pc2:cmRplyMk id="{9199DC11-A4A8-4AD2-855D-29101F5389A0}"/>
                </pc2:cmRplyMkLst>
              </pc226:cmRplyChg>
              <pc226:cmRplyChg chg="del">
                <pc226:chgData name="Annemarija Apine (LV)" userId="546f5c59-3b8d-47fd-b739-a8fadc631053" providerId="ADAL" clId="{7965F50E-FCC4-48FB-BD2C-39113FD4CC7F}" dt="2024-07-08T15:39:33.602" v="4"/>
                <pc2:cmRplyMkLst xmlns:pc2="http://schemas.microsoft.com/office/powerpoint/2019/9/main/command">
                  <pc:docMk/>
                  <pc:sldMk cId="2214180997" sldId="2147481982"/>
                  <pc2:cmMk id="{AE6F57BF-8C1D-4D08-B0C7-8837B5033847}"/>
                  <pc2:cmRplyMk id="{CD77EACC-234B-40D3-B857-6CCA103D9FBB}"/>
                </pc2:cmRplyMkLst>
              </pc226:cmRplyChg>
            </pc226:cmChg>
          </p:ext>
        </pc:extLst>
      </pc:sldChg>
      <pc:sldChg chg="modCm">
        <pc:chgData name="Annemarija Apine (LV)" userId="546f5c59-3b8d-47fd-b739-a8fadc631053" providerId="ADAL" clId="{7965F50E-FCC4-48FB-BD2C-39113FD4CC7F}" dt="2024-07-08T15:43:07.107" v="44"/>
        <pc:sldMkLst>
          <pc:docMk/>
          <pc:sldMk cId="802236342" sldId="2147481991"/>
        </pc:sldMkLst>
        <pc:extLst>
          <p:ext xmlns:p="http://schemas.openxmlformats.org/presentationml/2006/main" uri="{D6D511B9-2390-475A-947B-AFAB55BFBCF1}">
            <pc226:cmChg xmlns:pc226="http://schemas.microsoft.com/office/powerpoint/2022/06/main/command" chg="">
              <pc226:chgData name="Annemarija Apine (LV)" userId="546f5c59-3b8d-47fd-b739-a8fadc631053" providerId="ADAL" clId="{7965F50E-FCC4-48FB-BD2C-39113FD4CC7F}" dt="2024-07-08T15:43:07.107" v="44"/>
              <pc2:cmMkLst xmlns:pc2="http://schemas.microsoft.com/office/powerpoint/2019/9/main/command">
                <pc:docMk/>
                <pc:sldMk cId="802236342" sldId="2147481991"/>
                <pc2:cmMk id="{3C8807EE-4173-4A83-941A-51163258CE14}"/>
              </pc2:cmMkLst>
              <pc226:cmRplyChg chg="add">
                <pc226:chgData name="Annemarija Apine (LV)" userId="546f5c59-3b8d-47fd-b739-a8fadc631053" providerId="ADAL" clId="{7965F50E-FCC4-48FB-BD2C-39113FD4CC7F}" dt="2024-07-08T15:43:07.107" v="44"/>
                <pc2:cmRplyMkLst xmlns:pc2="http://schemas.microsoft.com/office/powerpoint/2019/9/main/command">
                  <pc:docMk/>
                  <pc:sldMk cId="802236342" sldId="2147481991"/>
                  <pc2:cmMk id="{3C8807EE-4173-4A83-941A-51163258CE14}"/>
                  <pc2:cmRplyMk id="{AF87CE04-68D7-4634-B55B-A75BA799F9C1}"/>
                </pc2:cmRplyMkLst>
              </pc226:cmRplyChg>
              <pc226:cmRplyChg chg="del">
                <pc226:chgData name="Annemarija Apine (LV)" userId="546f5c59-3b8d-47fd-b739-a8fadc631053" providerId="ADAL" clId="{7965F50E-FCC4-48FB-BD2C-39113FD4CC7F}" dt="2024-07-08T15:42:59.596" v="43"/>
                <pc2:cmRplyMkLst xmlns:pc2="http://schemas.microsoft.com/office/powerpoint/2019/9/main/command">
                  <pc:docMk/>
                  <pc:sldMk cId="802236342" sldId="2147481991"/>
                  <pc2:cmMk id="{3C8807EE-4173-4A83-941A-51163258CE14}"/>
                  <pc2:cmRplyMk id="{193E1798-8D57-43F8-A080-845450B5AFAB}"/>
                </pc2:cmRplyMkLst>
              </pc226:cmRplyChg>
            </pc226:cmChg>
          </p:ext>
        </pc:extLst>
      </pc:sldChg>
      <pc:sldChg chg="modCm">
        <pc:chgData name="Annemarija Apine (LV)" userId="546f5c59-3b8d-47fd-b739-a8fadc631053" providerId="ADAL" clId="{7965F50E-FCC4-48FB-BD2C-39113FD4CC7F}" dt="2024-07-08T15:42:53.200" v="41"/>
        <pc:sldMkLst>
          <pc:docMk/>
          <pc:sldMk cId="1613844391" sldId="2147481992"/>
        </pc:sldMkLst>
        <pc:extLst>
          <p:ext xmlns:p="http://schemas.openxmlformats.org/presentationml/2006/main" uri="{D6D511B9-2390-475A-947B-AFAB55BFBCF1}">
            <pc226:cmChg xmlns:pc226="http://schemas.microsoft.com/office/powerpoint/2022/06/main/command" chg="">
              <pc226:chgData name="Annemarija Apine (LV)" userId="546f5c59-3b8d-47fd-b739-a8fadc631053" providerId="ADAL" clId="{7965F50E-FCC4-48FB-BD2C-39113FD4CC7F}" dt="2024-07-08T15:42:53.200" v="41"/>
              <pc2:cmMkLst xmlns:pc2="http://schemas.microsoft.com/office/powerpoint/2019/9/main/command">
                <pc:docMk/>
                <pc:sldMk cId="1613844391" sldId="2147481992"/>
                <pc2:cmMk id="{86E85305-CBFF-4095-AFDE-F06BD32003C3}"/>
              </pc2:cmMkLst>
              <pc226:cmRplyChg chg="add">
                <pc226:chgData name="Annemarija Apine (LV)" userId="546f5c59-3b8d-47fd-b739-a8fadc631053" providerId="ADAL" clId="{7965F50E-FCC4-48FB-BD2C-39113FD4CC7F}" dt="2024-07-08T15:42:53.200" v="41"/>
                <pc2:cmRplyMkLst xmlns:pc2="http://schemas.microsoft.com/office/powerpoint/2019/9/main/command">
                  <pc:docMk/>
                  <pc:sldMk cId="1613844391" sldId="2147481992"/>
                  <pc2:cmMk id="{86E85305-CBFF-4095-AFDE-F06BD32003C3}"/>
                  <pc2:cmRplyMk id="{90A84EED-4E57-4450-B843-8452C69BF820}"/>
                </pc2:cmRplyMkLst>
              </pc226:cmRplyChg>
            </pc226:cmChg>
          </p:ext>
        </pc:extLst>
      </pc:sldChg>
      <pc:sldChg chg="modCm">
        <pc:chgData name="Annemarija Apine (LV)" userId="546f5c59-3b8d-47fd-b739-a8fadc631053" providerId="ADAL" clId="{7965F50E-FCC4-48FB-BD2C-39113FD4CC7F}" dt="2024-07-08T15:41:57.014" v="30"/>
        <pc:sldMkLst>
          <pc:docMk/>
          <pc:sldMk cId="1791248831" sldId="2147482012"/>
        </pc:sldMkLst>
        <pc:extLst>
          <p:ext xmlns:p="http://schemas.openxmlformats.org/presentationml/2006/main" uri="{D6D511B9-2390-475A-947B-AFAB55BFBCF1}">
            <pc226:cmChg xmlns:pc226="http://schemas.microsoft.com/office/powerpoint/2022/06/main/command" chg="">
              <pc226:chgData name="Annemarija Apine (LV)" userId="546f5c59-3b8d-47fd-b739-a8fadc631053" providerId="ADAL" clId="{7965F50E-FCC4-48FB-BD2C-39113FD4CC7F}" dt="2024-07-08T15:41:57.014" v="30"/>
              <pc2:cmMkLst xmlns:pc2="http://schemas.microsoft.com/office/powerpoint/2019/9/main/command">
                <pc:docMk/>
                <pc:sldMk cId="1791248831" sldId="2147482012"/>
                <pc2:cmMk id="{076195FD-6758-49F6-A8B1-EF2326D1098C}"/>
              </pc2:cmMkLst>
              <pc226:cmRplyChg chg="del">
                <pc226:chgData name="Annemarija Apine (LV)" userId="546f5c59-3b8d-47fd-b739-a8fadc631053" providerId="ADAL" clId="{7965F50E-FCC4-48FB-BD2C-39113FD4CC7F}" dt="2024-07-08T15:40:54.645" v="28"/>
                <pc2:cmRplyMkLst xmlns:pc2="http://schemas.microsoft.com/office/powerpoint/2019/9/main/command">
                  <pc:docMk/>
                  <pc:sldMk cId="1791248831" sldId="2147482012"/>
                  <pc2:cmMk id="{076195FD-6758-49F6-A8B1-EF2326D1098C}"/>
                  <pc2:cmRplyMk id="{CDB88833-3B10-4F30-ACC0-DA89B4967344}"/>
                </pc2:cmRplyMkLst>
              </pc226:cmRplyChg>
              <pc226:cmRplyChg chg="add mod">
                <pc226:chgData name="Annemarija Apine (LV)" userId="546f5c59-3b8d-47fd-b739-a8fadc631053" providerId="ADAL" clId="{7965F50E-FCC4-48FB-BD2C-39113FD4CC7F}" dt="2024-07-08T15:41:57.014" v="30"/>
                <pc2:cmRplyMkLst xmlns:pc2="http://schemas.microsoft.com/office/powerpoint/2019/9/main/command">
                  <pc:docMk/>
                  <pc:sldMk cId="1791248831" sldId="2147482012"/>
                  <pc2:cmMk id="{076195FD-6758-49F6-A8B1-EF2326D1098C}"/>
                  <pc2:cmRplyMk id="{0031E5B0-927E-43BA-9C43-6449D534AD91}"/>
                </pc2:cmRplyMkLst>
              </pc226:cmRplyChg>
            </pc226:cmChg>
          </p:ext>
        </pc:extLst>
      </pc:sldChg>
      <pc:sldChg chg="modCm">
        <pc:chgData name="Annemarija Apine (LV)" userId="546f5c59-3b8d-47fd-b739-a8fadc631053" providerId="ADAL" clId="{7965F50E-FCC4-48FB-BD2C-39113FD4CC7F}" dt="2024-07-08T15:42:09.561" v="32"/>
        <pc:sldMkLst>
          <pc:docMk/>
          <pc:sldMk cId="2403530007" sldId="2147482019"/>
        </pc:sldMkLst>
        <pc:extLst>
          <p:ext xmlns:p="http://schemas.openxmlformats.org/presentationml/2006/main" uri="{D6D511B9-2390-475A-947B-AFAB55BFBCF1}">
            <pc226:cmChg xmlns:pc226="http://schemas.microsoft.com/office/powerpoint/2022/06/main/command" chg="">
              <pc226:chgData name="Annemarija Apine (LV)" userId="546f5c59-3b8d-47fd-b739-a8fadc631053" providerId="ADAL" clId="{7965F50E-FCC4-48FB-BD2C-39113FD4CC7F}" dt="2024-07-08T15:42:09.561" v="32"/>
              <pc2:cmMkLst xmlns:pc2="http://schemas.microsoft.com/office/powerpoint/2019/9/main/command">
                <pc:docMk/>
                <pc:sldMk cId="2403530007" sldId="2147482019"/>
                <pc2:cmMk id="{02CBE78D-7408-4FAF-9D53-CDA36AC5E0AB}"/>
              </pc2:cmMkLst>
              <pc226:cmRplyChg chg="add">
                <pc226:chgData name="Annemarija Apine (LV)" userId="546f5c59-3b8d-47fd-b739-a8fadc631053" providerId="ADAL" clId="{7965F50E-FCC4-48FB-BD2C-39113FD4CC7F}" dt="2024-07-08T15:42:09.561" v="32"/>
                <pc2:cmRplyMkLst xmlns:pc2="http://schemas.microsoft.com/office/powerpoint/2019/9/main/command">
                  <pc:docMk/>
                  <pc:sldMk cId="2403530007" sldId="2147482019"/>
                  <pc2:cmMk id="{02CBE78D-7408-4FAF-9D53-CDA36AC5E0AB}"/>
                  <pc2:cmRplyMk id="{5EFADC2C-E31A-498E-90E4-551FA79D07A1}"/>
                </pc2:cmRplyMkLst>
              </pc226:cmRplyChg>
            </pc226:cmChg>
          </p:ext>
        </pc:extLst>
      </pc:sldChg>
      <pc:sldChg chg="modCm">
        <pc:chgData name="Annemarija Apine (LV)" userId="546f5c59-3b8d-47fd-b739-a8fadc631053" providerId="ADAL" clId="{7965F50E-FCC4-48FB-BD2C-39113FD4CC7F}" dt="2024-07-08T15:42:36.477" v="38"/>
        <pc:sldMkLst>
          <pc:docMk/>
          <pc:sldMk cId="397739886" sldId="2147482037"/>
        </pc:sldMkLst>
        <pc:extLst>
          <p:ext xmlns:p="http://schemas.openxmlformats.org/presentationml/2006/main" uri="{D6D511B9-2390-475A-947B-AFAB55BFBCF1}">
            <pc226:cmChg xmlns:pc226="http://schemas.microsoft.com/office/powerpoint/2022/06/main/command" chg="">
              <pc226:chgData name="Annemarija Apine (LV)" userId="546f5c59-3b8d-47fd-b739-a8fadc631053" providerId="ADAL" clId="{7965F50E-FCC4-48FB-BD2C-39113FD4CC7F}" dt="2024-07-08T15:42:36.477" v="38"/>
              <pc2:cmMkLst xmlns:pc2="http://schemas.microsoft.com/office/powerpoint/2019/9/main/command">
                <pc:docMk/>
                <pc:sldMk cId="397739886" sldId="2147482037"/>
                <pc2:cmMk id="{91553C0B-D700-41F4-997A-C62660831CB6}"/>
              </pc2:cmMkLst>
              <pc226:cmRplyChg chg="add">
                <pc226:chgData name="Annemarija Apine (LV)" userId="546f5c59-3b8d-47fd-b739-a8fadc631053" providerId="ADAL" clId="{7965F50E-FCC4-48FB-BD2C-39113FD4CC7F}" dt="2024-07-08T15:42:36.477" v="38"/>
                <pc2:cmRplyMkLst xmlns:pc2="http://schemas.microsoft.com/office/powerpoint/2019/9/main/command">
                  <pc:docMk/>
                  <pc:sldMk cId="397739886" sldId="2147482037"/>
                  <pc2:cmMk id="{91553C0B-D700-41F4-997A-C62660831CB6}"/>
                  <pc2:cmRplyMk id="{2987A44C-0CBF-4FD2-B3DA-95BE9A2E0CA8}"/>
                </pc2:cmRplyMkLst>
              </pc226:cmRplyChg>
              <pc226:cmRplyChg chg="del">
                <pc226:chgData name="Annemarija Apine (LV)" userId="546f5c59-3b8d-47fd-b739-a8fadc631053" providerId="ADAL" clId="{7965F50E-FCC4-48FB-BD2C-39113FD4CC7F}" dt="2024-07-08T15:42:34.500" v="37"/>
                <pc2:cmRplyMkLst xmlns:pc2="http://schemas.microsoft.com/office/powerpoint/2019/9/main/command">
                  <pc:docMk/>
                  <pc:sldMk cId="397739886" sldId="2147482037"/>
                  <pc2:cmMk id="{91553C0B-D700-41F4-997A-C62660831CB6}"/>
                  <pc2:cmRplyMk id="{65A6E3CE-DC7E-49A0-ADF9-F8B5F759495E}"/>
                </pc2:cmRplyMkLst>
              </pc226:cmRplyChg>
            </pc226:cmChg>
          </p:ext>
        </pc:extLst>
      </pc:sldChg>
    </pc:docChg>
  </pc:docChgLst>
  <pc:docChgLst>
    <pc:chgData name="Annemarija Apine (LV)" userId="S::annemarija.apine@pwc.com::546f5c59-3b8d-47fd-b739-a8fadc631053" providerId="AD" clId="Web-{3673997A-B86F-975F-7419-CF9818BFC5BC}"/>
    <pc:docChg chg="sldOrd">
      <pc:chgData name="Annemarija Apine (LV)" userId="S::annemarija.apine@pwc.com::546f5c59-3b8d-47fd-b739-a8fadc631053" providerId="AD" clId="Web-{3673997A-B86F-975F-7419-CF9818BFC5BC}" dt="2024-07-08T15:19:38.147" v="0"/>
      <pc:docMkLst>
        <pc:docMk/>
      </pc:docMkLst>
      <pc:sldChg chg="ord">
        <pc:chgData name="Annemarija Apine (LV)" userId="S::annemarija.apine@pwc.com::546f5c59-3b8d-47fd-b739-a8fadc631053" providerId="AD" clId="Web-{3673997A-B86F-975F-7419-CF9818BFC5BC}" dt="2024-07-08T15:19:38.147" v="0"/>
        <pc:sldMkLst>
          <pc:docMk/>
          <pc:sldMk cId="192098022" sldId="2147481928"/>
        </pc:sldMkLst>
      </pc:sldChg>
    </pc:docChg>
  </pc:docChgLst>
  <pc:docChgLst>
    <pc:chgData name="Annemarija Apine (LV)" userId="S::annemarija.apine@pwc.com::546f5c59-3b8d-47fd-b739-a8fadc631053" providerId="AD" clId="Web-{B5371D39-1BB4-8CAB-BB03-8CEEA2E8A033}"/>
    <pc:docChg chg="modSld">
      <pc:chgData name="Annemarija Apine (LV)" userId="S::annemarija.apine@pwc.com::546f5c59-3b8d-47fd-b739-a8fadc631053" providerId="AD" clId="Web-{B5371D39-1BB4-8CAB-BB03-8CEEA2E8A033}" dt="2024-07-08T09:55:18.944" v="15" actId="14100"/>
      <pc:docMkLst>
        <pc:docMk/>
      </pc:docMkLst>
      <pc:sldChg chg="addSp delSp modSp">
        <pc:chgData name="Annemarija Apine (LV)" userId="S::annemarija.apine@pwc.com::546f5c59-3b8d-47fd-b739-a8fadc631053" providerId="AD" clId="Web-{B5371D39-1BB4-8CAB-BB03-8CEEA2E8A033}" dt="2024-07-08T09:55:18.944" v="15" actId="14100"/>
        <pc:sldMkLst>
          <pc:docMk/>
          <pc:sldMk cId="28118731" sldId="2147481984"/>
        </pc:sldMkLst>
        <pc:picChg chg="add del mod">
          <ac:chgData name="Annemarija Apine (LV)" userId="S::annemarija.apine@pwc.com::546f5c59-3b8d-47fd-b739-a8fadc631053" providerId="AD" clId="Web-{B5371D39-1BB4-8CAB-BB03-8CEEA2E8A033}" dt="2024-07-08T09:54:15.612" v="2"/>
          <ac:picMkLst>
            <pc:docMk/>
            <pc:sldMk cId="28118731" sldId="2147481984"/>
            <ac:picMk id="10" creationId="{FFDB01DF-F5DF-0125-155F-3C29494D593F}"/>
          </ac:picMkLst>
        </pc:picChg>
        <pc:cxnChg chg="del">
          <ac:chgData name="Annemarija Apine (LV)" userId="S::annemarija.apine@pwc.com::546f5c59-3b8d-47fd-b739-a8fadc631053" providerId="AD" clId="Web-{B5371D39-1BB4-8CAB-BB03-8CEEA2E8A033}" dt="2024-07-08T09:54:11.846" v="0"/>
          <ac:cxnSpMkLst>
            <pc:docMk/>
            <pc:sldMk cId="28118731" sldId="2147481984"/>
            <ac:cxnSpMk id="6" creationId="{AA7A7FA2-43EB-E10E-9DB9-8125FF1E58FC}"/>
          </ac:cxnSpMkLst>
        </pc:cxnChg>
        <pc:cxnChg chg="add mod">
          <ac:chgData name="Annemarija Apine (LV)" userId="S::annemarija.apine@pwc.com::546f5c59-3b8d-47fd-b739-a8fadc631053" providerId="AD" clId="Web-{B5371D39-1BB4-8CAB-BB03-8CEEA2E8A033}" dt="2024-07-08T09:54:26.003" v="5" actId="1076"/>
          <ac:cxnSpMkLst>
            <pc:docMk/>
            <pc:sldMk cId="28118731" sldId="2147481984"/>
            <ac:cxnSpMk id="11" creationId="{FE8B05FD-24B9-49EF-51D7-BF27C35B3679}"/>
          </ac:cxnSpMkLst>
        </pc:cxnChg>
        <pc:cxnChg chg="add mod">
          <ac:chgData name="Annemarija Apine (LV)" userId="S::annemarija.apine@pwc.com::546f5c59-3b8d-47fd-b739-a8fadc631053" providerId="AD" clId="Web-{B5371D39-1BB4-8CAB-BB03-8CEEA2E8A033}" dt="2024-07-08T09:55:18.944" v="15" actId="14100"/>
          <ac:cxnSpMkLst>
            <pc:docMk/>
            <pc:sldMk cId="28118731" sldId="2147481984"/>
            <ac:cxnSpMk id="24" creationId="{A55F794B-7498-CA33-45EE-BB871BBF80F3}"/>
          </ac:cxnSpMkLst>
        </pc:cxnChg>
      </pc:sldChg>
    </pc:docChg>
  </pc:docChgLst>
  <pc:docChgLst>
    <pc:chgData name="Annemarija Apine (LV)" userId="S::annemarija.apine@pwc.com::546f5c59-3b8d-47fd-b739-a8fadc631053" providerId="AD" clId="Web-{E78385F5-D549-08CE-54DE-F9AB2B951C03}"/>
    <pc:docChg chg="mod">
      <pc:chgData name="Annemarija Apine (LV)" userId="S::annemarija.apine@pwc.com::546f5c59-3b8d-47fd-b739-a8fadc631053" providerId="AD" clId="Web-{E78385F5-D549-08CE-54DE-F9AB2B951C03}" dt="2024-06-27T11:05:50.334" v="1"/>
      <pc:docMkLst>
        <pc:docMk/>
      </pc:docMkLst>
      <pc:sldChg chg="addCm">
        <pc:chgData name="Annemarija Apine (LV)" userId="S::annemarija.apine@pwc.com::546f5c59-3b8d-47fd-b739-a8fadc631053" providerId="AD" clId="Web-{E78385F5-D549-08CE-54DE-F9AB2B951C03}" dt="2024-06-27T11:05:50.334" v="1"/>
        <pc:sldMkLst>
          <pc:docMk/>
          <pc:sldMk cId="820934104" sldId="2147481983"/>
        </pc:sldMkLst>
        <pc:extLst>
          <p:ext xmlns:p="http://schemas.openxmlformats.org/presentationml/2006/main" uri="{D6D511B9-2390-475A-947B-AFAB55BFBCF1}">
            <pc226:cmChg xmlns:pc226="http://schemas.microsoft.com/office/powerpoint/2022/06/main/command" chg="add">
              <pc226:chgData name="Annemarija Apine (LV)" userId="S::annemarija.apine@pwc.com::546f5c59-3b8d-47fd-b739-a8fadc631053" providerId="AD" clId="Web-{E78385F5-D549-08CE-54DE-F9AB2B951C03}" dt="2024-06-27T11:05:50.334" v="1"/>
              <pc2:cmMkLst xmlns:pc2="http://schemas.microsoft.com/office/powerpoint/2019/9/main/command">
                <pc:docMk/>
                <pc:sldMk cId="820934104" sldId="2147481983"/>
                <pc2:cmMk id="{A38640E4-D377-41CA-941E-C1C6823C8EB1}"/>
              </pc2:cmMkLst>
            </pc226:cmChg>
          </p:ext>
        </pc:extLst>
      </pc:sldChg>
    </pc:docChg>
  </pc:docChgLst>
  <pc:docChgLst>
    <pc:chgData name="Petro Petrashko (UA)" userId="5b2b3b98-3131-48c7-bb8a-19b196a36949" providerId="ADAL" clId="{351FE23D-61E3-4217-9757-ECF8C23312BF}"/>
    <pc:docChg chg="undo redo custSel modSld sldOrd replTag">
      <pc:chgData name="Petro Petrashko (UA)" userId="5b2b3b98-3131-48c7-bb8a-19b196a36949" providerId="ADAL" clId="{351FE23D-61E3-4217-9757-ECF8C23312BF}" dt="2024-06-26T15:02:36.449" v="1229"/>
      <pc:docMkLst>
        <pc:docMk/>
      </pc:docMkLst>
      <pc:sldChg chg="modSp mod">
        <pc:chgData name="Petro Petrashko (UA)" userId="5b2b3b98-3131-48c7-bb8a-19b196a36949" providerId="ADAL" clId="{351FE23D-61E3-4217-9757-ECF8C23312BF}" dt="2024-06-26T14:43:38.211" v="1223" actId="554"/>
        <pc:sldMkLst>
          <pc:docMk/>
          <pc:sldMk cId="1373554732" sldId="2147481893"/>
        </pc:sldMkLst>
        <pc:spChg chg="mod">
          <ac:chgData name="Petro Petrashko (UA)" userId="5b2b3b98-3131-48c7-bb8a-19b196a36949" providerId="ADAL" clId="{351FE23D-61E3-4217-9757-ECF8C23312BF}" dt="2024-06-26T14:43:38.211" v="1223" actId="554"/>
          <ac:spMkLst>
            <pc:docMk/>
            <pc:sldMk cId="1373554732" sldId="2147481893"/>
            <ac:spMk id="22" creationId="{1DD6BAA7-6B8B-B5D1-983C-47F7088D2D65}"/>
          </ac:spMkLst>
        </pc:spChg>
        <pc:picChg chg="mod">
          <ac:chgData name="Petro Petrashko (UA)" userId="5b2b3b98-3131-48c7-bb8a-19b196a36949" providerId="ADAL" clId="{351FE23D-61E3-4217-9757-ECF8C23312BF}" dt="2024-06-26T14:43:30.788" v="1222" actId="14826"/>
          <ac:picMkLst>
            <pc:docMk/>
            <pc:sldMk cId="1373554732" sldId="2147481893"/>
            <ac:picMk id="24" creationId="{6333E015-E3E5-C297-ECEF-3FBADE746AAA}"/>
          </ac:picMkLst>
        </pc:picChg>
      </pc:sldChg>
      <pc:sldChg chg="addSp delSp modSp mod">
        <pc:chgData name="Petro Petrashko (UA)" userId="5b2b3b98-3131-48c7-bb8a-19b196a36949" providerId="ADAL" clId="{351FE23D-61E3-4217-9757-ECF8C23312BF}" dt="2024-06-26T14:10:28.907" v="677"/>
        <pc:sldMkLst>
          <pc:docMk/>
          <pc:sldMk cId="2214180997" sldId="2147481982"/>
        </pc:sldMkLst>
        <pc:spChg chg="mod">
          <ac:chgData name="Petro Petrashko (UA)" userId="5b2b3b98-3131-48c7-bb8a-19b196a36949" providerId="ADAL" clId="{351FE23D-61E3-4217-9757-ECF8C23312BF}" dt="2024-06-26T14:10:28.833" v="640" actId="948"/>
          <ac:spMkLst>
            <pc:docMk/>
            <pc:sldMk cId="2214180997" sldId="2147481982"/>
            <ac:spMk id="2" creationId="{EC47296D-9568-ED7D-0457-80174E2BF2F8}"/>
          </ac:spMkLst>
        </pc:spChg>
        <pc:spChg chg="mod">
          <ac:chgData name="Petro Petrashko (UA)" userId="5b2b3b98-3131-48c7-bb8a-19b196a36949" providerId="ADAL" clId="{351FE23D-61E3-4217-9757-ECF8C23312BF}" dt="2024-06-26T13:58:33.652" v="198"/>
          <ac:spMkLst>
            <pc:docMk/>
            <pc:sldMk cId="2214180997" sldId="2147481982"/>
            <ac:spMk id="10" creationId="{9AAFC7C1-D5FA-DC92-17EE-9B18D1BC0CFD}"/>
          </ac:spMkLst>
        </pc:spChg>
        <pc:spChg chg="mod">
          <ac:chgData name="Petro Petrashko (UA)" userId="5b2b3b98-3131-48c7-bb8a-19b196a36949" providerId="ADAL" clId="{351FE23D-61E3-4217-9757-ECF8C23312BF}" dt="2024-06-26T13:58:33.652" v="198"/>
          <ac:spMkLst>
            <pc:docMk/>
            <pc:sldMk cId="2214180997" sldId="2147481982"/>
            <ac:spMk id="11" creationId="{DBBB937E-79A3-0BC6-6183-0CC15618589A}"/>
          </ac:spMkLst>
        </pc:spChg>
        <pc:spChg chg="add del mod">
          <ac:chgData name="Petro Petrashko (UA)" userId="5b2b3b98-3131-48c7-bb8a-19b196a36949" providerId="ADAL" clId="{351FE23D-61E3-4217-9757-ECF8C23312BF}" dt="2024-06-26T14:00:01.843" v="285" actId="478"/>
          <ac:spMkLst>
            <pc:docMk/>
            <pc:sldMk cId="2214180997" sldId="2147481982"/>
            <ac:spMk id="19" creationId="{5237B8F0-6587-BF89-E6EC-EB2837C5B73B}"/>
          </ac:spMkLst>
        </pc:spChg>
        <pc:spChg chg="mod topLvl">
          <ac:chgData name="Petro Petrashko (UA)" userId="5b2b3b98-3131-48c7-bb8a-19b196a36949" providerId="ADAL" clId="{351FE23D-61E3-4217-9757-ECF8C23312BF}" dt="2024-06-26T13:59:22.611" v="214" actId="165"/>
          <ac:spMkLst>
            <pc:docMk/>
            <pc:sldMk cId="2214180997" sldId="2147481982"/>
            <ac:spMk id="20" creationId="{A4EAD244-3E35-CF16-9610-C9DD5B3A3D07}"/>
          </ac:spMkLst>
        </pc:spChg>
        <pc:spChg chg="add del mod modVis">
          <ac:chgData name="Petro Petrashko (UA)" userId="5b2b3b98-3131-48c7-bb8a-19b196a36949" providerId="ADAL" clId="{351FE23D-61E3-4217-9757-ECF8C23312BF}" dt="2024-06-26T13:59:41.130" v="257"/>
          <ac:spMkLst>
            <pc:docMk/>
            <pc:sldMk cId="2214180997" sldId="2147481982"/>
            <ac:spMk id="21" creationId="{7696B956-FA14-470D-78C3-CBB54FE9D82E}"/>
          </ac:spMkLst>
        </pc:spChg>
        <pc:spChg chg="add del mod">
          <ac:chgData name="Petro Petrashko (UA)" userId="5b2b3b98-3131-48c7-bb8a-19b196a36949" providerId="ADAL" clId="{351FE23D-61E3-4217-9757-ECF8C23312BF}" dt="2024-06-26T14:00:41.634" v="319" actId="478"/>
          <ac:spMkLst>
            <pc:docMk/>
            <pc:sldMk cId="2214180997" sldId="2147481982"/>
            <ac:spMk id="28" creationId="{087EBFA9-6CCA-836D-FA31-6E69D5561403}"/>
          </ac:spMkLst>
        </pc:spChg>
        <pc:spChg chg="mod">
          <ac:chgData name="Petro Petrashko (UA)" userId="5b2b3b98-3131-48c7-bb8a-19b196a36949" providerId="ADAL" clId="{351FE23D-61E3-4217-9757-ECF8C23312BF}" dt="2024-06-26T14:00:45.086" v="322"/>
          <ac:spMkLst>
            <pc:docMk/>
            <pc:sldMk cId="2214180997" sldId="2147481982"/>
            <ac:spMk id="31" creationId="{8DE13536-A414-5879-B5F0-8B9D718DFD12}"/>
          </ac:spMkLst>
        </pc:spChg>
        <pc:spChg chg="mod">
          <ac:chgData name="Petro Petrashko (UA)" userId="5b2b3b98-3131-48c7-bb8a-19b196a36949" providerId="ADAL" clId="{351FE23D-61E3-4217-9757-ECF8C23312BF}" dt="2024-06-26T14:00:45.086" v="322"/>
          <ac:spMkLst>
            <pc:docMk/>
            <pc:sldMk cId="2214180997" sldId="2147481982"/>
            <ac:spMk id="32" creationId="{88BCD621-E023-9382-9974-4AF2CD113D06}"/>
          </ac:spMkLst>
        </pc:spChg>
        <pc:spChg chg="add del mod modVis">
          <ac:chgData name="Petro Petrashko (UA)" userId="5b2b3b98-3131-48c7-bb8a-19b196a36949" providerId="ADAL" clId="{351FE23D-61E3-4217-9757-ECF8C23312BF}" dt="2024-06-26T14:01:45.717" v="400"/>
          <ac:spMkLst>
            <pc:docMk/>
            <pc:sldMk cId="2214180997" sldId="2147481982"/>
            <ac:spMk id="34" creationId="{5CF14C9A-CA34-685E-1956-2C05C3E088EE}"/>
          </ac:spMkLst>
        </pc:spChg>
        <pc:spChg chg="mod">
          <ac:chgData name="Petro Petrashko (UA)" userId="5b2b3b98-3131-48c7-bb8a-19b196a36949" providerId="ADAL" clId="{351FE23D-61E3-4217-9757-ECF8C23312BF}" dt="2024-06-26T14:02:07.861" v="453"/>
          <ac:spMkLst>
            <pc:docMk/>
            <pc:sldMk cId="2214180997" sldId="2147481982"/>
            <ac:spMk id="36" creationId="{DAF29E4A-EC6B-2255-B4E0-EDEAD31E0673}"/>
          </ac:spMkLst>
        </pc:spChg>
        <pc:spChg chg="mod">
          <ac:chgData name="Petro Petrashko (UA)" userId="5b2b3b98-3131-48c7-bb8a-19b196a36949" providerId="ADAL" clId="{351FE23D-61E3-4217-9757-ECF8C23312BF}" dt="2024-06-26T14:02:07.861" v="453"/>
          <ac:spMkLst>
            <pc:docMk/>
            <pc:sldMk cId="2214180997" sldId="2147481982"/>
            <ac:spMk id="37" creationId="{4D4B2B8F-7EC7-2852-A668-1147D26FCF91}"/>
          </ac:spMkLst>
        </pc:spChg>
        <pc:spChg chg="add del mod modVis">
          <ac:chgData name="Petro Petrashko (UA)" userId="5b2b3b98-3131-48c7-bb8a-19b196a36949" providerId="ADAL" clId="{351FE23D-61E3-4217-9757-ECF8C23312BF}" dt="2024-06-26T14:10:28.903" v="675"/>
          <ac:spMkLst>
            <pc:docMk/>
            <pc:sldMk cId="2214180997" sldId="2147481982"/>
            <ac:spMk id="39" creationId="{9A241D04-DC3E-BA0C-1493-2EE654FD137D}"/>
          </ac:spMkLst>
        </pc:spChg>
        <pc:spChg chg="mod topLvl">
          <ac:chgData name="Petro Petrashko (UA)" userId="5b2b3b98-3131-48c7-bb8a-19b196a36949" providerId="ADAL" clId="{351FE23D-61E3-4217-9757-ECF8C23312BF}" dt="2024-06-26T13:59:22.611" v="214" actId="165"/>
          <ac:spMkLst>
            <pc:docMk/>
            <pc:sldMk cId="2214180997" sldId="2147481982"/>
            <ac:spMk id="40" creationId="{0397F1B3-1DAC-781B-5BE5-08FA024DC19C}"/>
          </ac:spMkLst>
        </pc:spChg>
        <pc:spChg chg="mod topLvl">
          <ac:chgData name="Petro Petrashko (UA)" userId="5b2b3b98-3131-48c7-bb8a-19b196a36949" providerId="ADAL" clId="{351FE23D-61E3-4217-9757-ECF8C23312BF}" dt="2024-06-26T13:59:22.611" v="214" actId="165"/>
          <ac:spMkLst>
            <pc:docMk/>
            <pc:sldMk cId="2214180997" sldId="2147481982"/>
            <ac:spMk id="41" creationId="{66A14158-E11A-E312-8696-ADD9D0E04629}"/>
          </ac:spMkLst>
        </pc:spChg>
        <pc:spChg chg="mod topLvl">
          <ac:chgData name="Petro Petrashko (UA)" userId="5b2b3b98-3131-48c7-bb8a-19b196a36949" providerId="ADAL" clId="{351FE23D-61E3-4217-9757-ECF8C23312BF}" dt="2024-06-26T13:59:22.611" v="214" actId="165"/>
          <ac:spMkLst>
            <pc:docMk/>
            <pc:sldMk cId="2214180997" sldId="2147481982"/>
            <ac:spMk id="42" creationId="{986F6EBD-76CF-AA8A-DC11-0900DE8A8EB0}"/>
          </ac:spMkLst>
        </pc:spChg>
        <pc:spChg chg="mod topLvl">
          <ac:chgData name="Petro Petrashko (UA)" userId="5b2b3b98-3131-48c7-bb8a-19b196a36949" providerId="ADAL" clId="{351FE23D-61E3-4217-9757-ECF8C23312BF}" dt="2024-06-26T13:59:22.611" v="214" actId="165"/>
          <ac:spMkLst>
            <pc:docMk/>
            <pc:sldMk cId="2214180997" sldId="2147481982"/>
            <ac:spMk id="52" creationId="{54140961-D367-FFB1-E0FC-3F385487D472}"/>
          </ac:spMkLst>
        </pc:spChg>
        <pc:spChg chg="mod topLvl">
          <ac:chgData name="Petro Petrashko (UA)" userId="5b2b3b98-3131-48c7-bb8a-19b196a36949" providerId="ADAL" clId="{351FE23D-61E3-4217-9757-ECF8C23312BF}" dt="2024-06-26T14:02:13.550" v="455" actId="164"/>
          <ac:spMkLst>
            <pc:docMk/>
            <pc:sldMk cId="2214180997" sldId="2147481982"/>
            <ac:spMk id="57" creationId="{A073C5EE-5299-ADD0-94D7-3170276FA166}"/>
          </ac:spMkLst>
        </pc:spChg>
        <pc:spChg chg="mod topLvl">
          <ac:chgData name="Petro Petrashko (UA)" userId="5b2b3b98-3131-48c7-bb8a-19b196a36949" providerId="ADAL" clId="{351FE23D-61E3-4217-9757-ECF8C23312BF}" dt="2024-06-26T14:02:13.550" v="455" actId="164"/>
          <ac:spMkLst>
            <pc:docMk/>
            <pc:sldMk cId="2214180997" sldId="2147481982"/>
            <ac:spMk id="58" creationId="{1CA40E5F-52E1-906F-10FD-B58385773173}"/>
          </ac:spMkLst>
        </pc:spChg>
        <pc:spChg chg="mod">
          <ac:chgData name="Petro Petrashko (UA)" userId="5b2b3b98-3131-48c7-bb8a-19b196a36949" providerId="ADAL" clId="{351FE23D-61E3-4217-9757-ECF8C23312BF}" dt="2024-06-26T14:01:45.096" v="364" actId="552"/>
          <ac:spMkLst>
            <pc:docMk/>
            <pc:sldMk cId="2214180997" sldId="2147481982"/>
            <ac:spMk id="68" creationId="{DC58C25F-8110-0C29-4A50-5DADA78B621C}"/>
          </ac:spMkLst>
        </pc:spChg>
        <pc:spChg chg="mod topLvl">
          <ac:chgData name="Petro Petrashko (UA)" userId="5b2b3b98-3131-48c7-bb8a-19b196a36949" providerId="ADAL" clId="{351FE23D-61E3-4217-9757-ECF8C23312BF}" dt="2024-06-26T14:02:13.550" v="455" actId="164"/>
          <ac:spMkLst>
            <pc:docMk/>
            <pc:sldMk cId="2214180997" sldId="2147481982"/>
            <ac:spMk id="72" creationId="{2543AFCA-7DBC-4F76-9DA2-D2643AE45BA9}"/>
          </ac:spMkLst>
        </pc:spChg>
        <pc:spChg chg="mod topLvl">
          <ac:chgData name="Petro Petrashko (UA)" userId="5b2b3b98-3131-48c7-bb8a-19b196a36949" providerId="ADAL" clId="{351FE23D-61E3-4217-9757-ECF8C23312BF}" dt="2024-06-26T14:02:13.550" v="455" actId="164"/>
          <ac:spMkLst>
            <pc:docMk/>
            <pc:sldMk cId="2214180997" sldId="2147481982"/>
            <ac:spMk id="73" creationId="{C3973224-0FDE-AB92-CA48-254692E39197}"/>
          </ac:spMkLst>
        </pc:spChg>
        <pc:spChg chg="mod topLvl">
          <ac:chgData name="Petro Petrashko (UA)" userId="5b2b3b98-3131-48c7-bb8a-19b196a36949" providerId="ADAL" clId="{351FE23D-61E3-4217-9757-ECF8C23312BF}" dt="2024-06-26T14:02:13.550" v="455" actId="164"/>
          <ac:spMkLst>
            <pc:docMk/>
            <pc:sldMk cId="2214180997" sldId="2147481982"/>
            <ac:spMk id="79" creationId="{33E6C1AD-B972-C1DB-5544-0E474CB14E21}"/>
          </ac:spMkLst>
        </pc:spChg>
        <pc:spChg chg="mod topLvl">
          <ac:chgData name="Petro Petrashko (UA)" userId="5b2b3b98-3131-48c7-bb8a-19b196a36949" providerId="ADAL" clId="{351FE23D-61E3-4217-9757-ECF8C23312BF}" dt="2024-06-26T14:02:13.550" v="455" actId="164"/>
          <ac:spMkLst>
            <pc:docMk/>
            <pc:sldMk cId="2214180997" sldId="2147481982"/>
            <ac:spMk id="80" creationId="{19338F7A-E7EA-96BA-EA8F-E1DB08E2C178}"/>
          </ac:spMkLst>
        </pc:spChg>
        <pc:spChg chg="mod topLvl">
          <ac:chgData name="Petro Petrashko (UA)" userId="5b2b3b98-3131-48c7-bb8a-19b196a36949" providerId="ADAL" clId="{351FE23D-61E3-4217-9757-ECF8C23312BF}" dt="2024-06-26T14:02:13.550" v="455" actId="164"/>
          <ac:spMkLst>
            <pc:docMk/>
            <pc:sldMk cId="2214180997" sldId="2147481982"/>
            <ac:spMk id="83" creationId="{85C12B75-1D6E-881F-E30B-68674AFA8E56}"/>
          </ac:spMkLst>
        </pc:spChg>
        <pc:spChg chg="mod topLvl">
          <ac:chgData name="Petro Petrashko (UA)" userId="5b2b3b98-3131-48c7-bb8a-19b196a36949" providerId="ADAL" clId="{351FE23D-61E3-4217-9757-ECF8C23312BF}" dt="2024-06-26T14:02:13.550" v="455" actId="164"/>
          <ac:spMkLst>
            <pc:docMk/>
            <pc:sldMk cId="2214180997" sldId="2147481982"/>
            <ac:spMk id="84" creationId="{7F96781D-05E5-6540-1293-76F097AE987A}"/>
          </ac:spMkLst>
        </pc:spChg>
        <pc:spChg chg="mod topLvl">
          <ac:chgData name="Petro Petrashko (UA)" userId="5b2b3b98-3131-48c7-bb8a-19b196a36949" providerId="ADAL" clId="{351FE23D-61E3-4217-9757-ECF8C23312BF}" dt="2024-06-26T14:02:13.550" v="455" actId="164"/>
          <ac:spMkLst>
            <pc:docMk/>
            <pc:sldMk cId="2214180997" sldId="2147481982"/>
            <ac:spMk id="89" creationId="{7AD0F22C-299C-4471-6C33-C68875EFE67F}"/>
          </ac:spMkLst>
        </pc:spChg>
        <pc:spChg chg="mod topLvl">
          <ac:chgData name="Petro Petrashko (UA)" userId="5b2b3b98-3131-48c7-bb8a-19b196a36949" providerId="ADAL" clId="{351FE23D-61E3-4217-9757-ECF8C23312BF}" dt="2024-06-26T14:02:13.550" v="455" actId="164"/>
          <ac:spMkLst>
            <pc:docMk/>
            <pc:sldMk cId="2214180997" sldId="2147481982"/>
            <ac:spMk id="90" creationId="{0585702B-566A-3A03-DCD7-3B43A25AAD0D}"/>
          </ac:spMkLst>
        </pc:spChg>
        <pc:grpChg chg="add del mod">
          <ac:chgData name="Petro Petrashko (UA)" userId="5b2b3b98-3131-48c7-bb8a-19b196a36949" providerId="ADAL" clId="{351FE23D-61E3-4217-9757-ECF8C23312BF}" dt="2024-06-26T13:58:43.439" v="202" actId="478"/>
          <ac:grpSpMkLst>
            <pc:docMk/>
            <pc:sldMk cId="2214180997" sldId="2147481982"/>
            <ac:grpSpMk id="9" creationId="{30811BE7-E693-D1E1-D438-935CB9DB00E3}"/>
          </ac:grpSpMkLst>
        </pc:grpChg>
        <pc:grpChg chg="add del mod">
          <ac:chgData name="Petro Petrashko (UA)" userId="5b2b3b98-3131-48c7-bb8a-19b196a36949" providerId="ADAL" clId="{351FE23D-61E3-4217-9757-ECF8C23312BF}" dt="2024-06-26T13:59:22.611" v="214" actId="165"/>
          <ac:grpSpMkLst>
            <pc:docMk/>
            <pc:sldMk cId="2214180997" sldId="2147481982"/>
            <ac:grpSpMk id="12" creationId="{A8F92915-86F2-8C12-38E9-90CEA1D0DE2F}"/>
          </ac:grpSpMkLst>
        </pc:grpChg>
        <pc:grpChg chg="add del mod">
          <ac:chgData name="Petro Petrashko (UA)" userId="5b2b3b98-3131-48c7-bb8a-19b196a36949" providerId="ADAL" clId="{351FE23D-61E3-4217-9757-ECF8C23312BF}" dt="2024-06-26T13:59:22.611" v="214" actId="165"/>
          <ac:grpSpMkLst>
            <pc:docMk/>
            <pc:sldMk cId="2214180997" sldId="2147481982"/>
            <ac:grpSpMk id="13" creationId="{D127BE03-80D9-CC1C-3286-F5ABE4C91370}"/>
          </ac:grpSpMkLst>
        </pc:grpChg>
        <pc:grpChg chg="add del mod">
          <ac:chgData name="Petro Petrashko (UA)" userId="5b2b3b98-3131-48c7-bb8a-19b196a36949" providerId="ADAL" clId="{351FE23D-61E3-4217-9757-ECF8C23312BF}" dt="2024-06-26T13:59:22.611" v="214" actId="165"/>
          <ac:grpSpMkLst>
            <pc:docMk/>
            <pc:sldMk cId="2214180997" sldId="2147481982"/>
            <ac:grpSpMk id="14" creationId="{58163329-9745-C382-5D96-5E90F4F57AC3}"/>
          </ac:grpSpMkLst>
        </pc:grpChg>
        <pc:grpChg chg="add del mod">
          <ac:chgData name="Petro Petrashko (UA)" userId="5b2b3b98-3131-48c7-bb8a-19b196a36949" providerId="ADAL" clId="{351FE23D-61E3-4217-9757-ECF8C23312BF}" dt="2024-06-26T13:59:22.611" v="214" actId="165"/>
          <ac:grpSpMkLst>
            <pc:docMk/>
            <pc:sldMk cId="2214180997" sldId="2147481982"/>
            <ac:grpSpMk id="17" creationId="{ECFBA2CF-3BCF-1848-F9FD-84160E895450}"/>
          </ac:grpSpMkLst>
        </pc:grpChg>
        <pc:grpChg chg="add del mod">
          <ac:chgData name="Petro Petrashko (UA)" userId="5b2b3b98-3131-48c7-bb8a-19b196a36949" providerId="ADAL" clId="{351FE23D-61E3-4217-9757-ECF8C23312BF}" dt="2024-06-26T13:59:22.611" v="214" actId="165"/>
          <ac:grpSpMkLst>
            <pc:docMk/>
            <pc:sldMk cId="2214180997" sldId="2147481982"/>
            <ac:grpSpMk id="18" creationId="{14F50A45-828B-3E44-3E97-B20B4A86F1FC}"/>
          </ac:grpSpMkLst>
        </pc:grpChg>
        <pc:grpChg chg="add del mod">
          <ac:chgData name="Petro Petrashko (UA)" userId="5b2b3b98-3131-48c7-bb8a-19b196a36949" providerId="ADAL" clId="{351FE23D-61E3-4217-9757-ECF8C23312BF}" dt="2024-06-26T14:00:31.539" v="296" actId="165"/>
          <ac:grpSpMkLst>
            <pc:docMk/>
            <pc:sldMk cId="2214180997" sldId="2147481982"/>
            <ac:grpSpMk id="23" creationId="{22ECC5D3-A444-0265-DEFA-62CC0A83E04C}"/>
          </ac:grpSpMkLst>
        </pc:grpChg>
        <pc:grpChg chg="add del mod">
          <ac:chgData name="Petro Petrashko (UA)" userId="5b2b3b98-3131-48c7-bb8a-19b196a36949" providerId="ADAL" clId="{351FE23D-61E3-4217-9757-ECF8C23312BF}" dt="2024-06-26T14:00:31.539" v="296" actId="165"/>
          <ac:grpSpMkLst>
            <pc:docMk/>
            <pc:sldMk cId="2214180997" sldId="2147481982"/>
            <ac:grpSpMk id="24" creationId="{4AA7926B-16D0-412B-DC12-4D33C7E03E4F}"/>
          </ac:grpSpMkLst>
        </pc:grpChg>
        <pc:grpChg chg="add del mod">
          <ac:chgData name="Petro Petrashko (UA)" userId="5b2b3b98-3131-48c7-bb8a-19b196a36949" providerId="ADAL" clId="{351FE23D-61E3-4217-9757-ECF8C23312BF}" dt="2024-06-26T14:00:31.539" v="296" actId="165"/>
          <ac:grpSpMkLst>
            <pc:docMk/>
            <pc:sldMk cId="2214180997" sldId="2147481982"/>
            <ac:grpSpMk id="25" creationId="{0B0673D7-D08C-7B91-4AD0-2ED8FB3BCD49}"/>
          </ac:grpSpMkLst>
        </pc:grpChg>
        <pc:grpChg chg="add del mod">
          <ac:chgData name="Petro Petrashko (UA)" userId="5b2b3b98-3131-48c7-bb8a-19b196a36949" providerId="ADAL" clId="{351FE23D-61E3-4217-9757-ECF8C23312BF}" dt="2024-06-26T14:00:31.539" v="296" actId="165"/>
          <ac:grpSpMkLst>
            <pc:docMk/>
            <pc:sldMk cId="2214180997" sldId="2147481982"/>
            <ac:grpSpMk id="26" creationId="{59D15843-9151-AC60-9BEB-9D74ECC4099E}"/>
          </ac:grpSpMkLst>
        </pc:grpChg>
        <pc:grpChg chg="add del mod">
          <ac:chgData name="Petro Petrashko (UA)" userId="5b2b3b98-3131-48c7-bb8a-19b196a36949" providerId="ADAL" clId="{351FE23D-61E3-4217-9757-ECF8C23312BF}" dt="2024-06-26T14:00:31.539" v="296" actId="165"/>
          <ac:grpSpMkLst>
            <pc:docMk/>
            <pc:sldMk cId="2214180997" sldId="2147481982"/>
            <ac:grpSpMk id="27" creationId="{CB16E537-B37A-197D-5E80-3CEE24FF9DEF}"/>
          </ac:grpSpMkLst>
        </pc:grpChg>
        <pc:grpChg chg="add del mod">
          <ac:chgData name="Petro Petrashko (UA)" userId="5b2b3b98-3131-48c7-bb8a-19b196a36949" providerId="ADAL" clId="{351FE23D-61E3-4217-9757-ECF8C23312BF}" dt="2024-06-26T14:01:48.266" v="403" actId="478"/>
          <ac:grpSpMkLst>
            <pc:docMk/>
            <pc:sldMk cId="2214180997" sldId="2147481982"/>
            <ac:grpSpMk id="30" creationId="{ACA7CD60-32C2-9EDB-838D-FA4A1D7B9198}"/>
          </ac:grpSpMkLst>
        </pc:grpChg>
        <pc:grpChg chg="add del mod">
          <ac:chgData name="Petro Petrashko (UA)" userId="5b2b3b98-3131-48c7-bb8a-19b196a36949" providerId="ADAL" clId="{351FE23D-61E3-4217-9757-ECF8C23312BF}" dt="2024-06-26T14:02:04.078" v="450" actId="165"/>
          <ac:grpSpMkLst>
            <pc:docMk/>
            <pc:sldMk cId="2214180997" sldId="2147481982"/>
            <ac:grpSpMk id="33" creationId="{88FAF225-73A7-5DA6-F747-4D1D127E2026}"/>
          </ac:grpSpMkLst>
        </pc:grpChg>
        <pc:grpChg chg="add del mod">
          <ac:chgData name="Petro Petrashko (UA)" userId="5b2b3b98-3131-48c7-bb8a-19b196a36949" providerId="ADAL" clId="{351FE23D-61E3-4217-9757-ECF8C23312BF}" dt="2024-06-26T14:02:18" v="457" actId="478"/>
          <ac:grpSpMkLst>
            <pc:docMk/>
            <pc:sldMk cId="2214180997" sldId="2147481982"/>
            <ac:grpSpMk id="35" creationId="{45F501CD-512F-9925-57B3-5B843D23CE58}"/>
          </ac:grpSpMkLst>
        </pc:grpChg>
        <pc:grpChg chg="add mod">
          <ac:chgData name="Petro Petrashko (UA)" userId="5b2b3b98-3131-48c7-bb8a-19b196a36949" providerId="ADAL" clId="{351FE23D-61E3-4217-9757-ECF8C23312BF}" dt="2024-06-26T14:10:28.320" v="639" actId="552"/>
          <ac:grpSpMkLst>
            <pc:docMk/>
            <pc:sldMk cId="2214180997" sldId="2147481982"/>
            <ac:grpSpMk id="38" creationId="{219BBEA8-5E3D-C2C1-202B-E065631AC45E}"/>
          </ac:grpSpMkLst>
        </pc:grpChg>
        <pc:graphicFrameChg chg="add mod ord modVis replST">
          <ac:chgData name="Petro Petrashko (UA)" userId="5b2b3b98-3131-48c7-bb8a-19b196a36949" providerId="ADAL" clId="{351FE23D-61E3-4217-9757-ECF8C23312BF}" dt="2024-06-26T14:10:28.907" v="677"/>
          <ac:graphicFrameMkLst>
            <pc:docMk/>
            <pc:sldMk cId="2214180997" sldId="2147481982"/>
            <ac:graphicFrameMk id="22" creationId="{B68EC639-039F-DB4E-37B0-99BED0A5766C}"/>
          </ac:graphicFrameMkLst>
        </pc:graphicFrameChg>
        <pc:cxnChg chg="mod">
          <ac:chgData name="Petro Petrashko (UA)" userId="5b2b3b98-3131-48c7-bb8a-19b196a36949" providerId="ADAL" clId="{351FE23D-61E3-4217-9757-ECF8C23312BF}" dt="2024-06-26T13:59:01.882" v="207" actId="465"/>
          <ac:cxnSpMkLst>
            <pc:docMk/>
            <pc:sldMk cId="2214180997" sldId="2147481982"/>
            <ac:cxnSpMk id="6" creationId="{AA7A7FA2-43EB-E10E-9DB9-8125FF1E58FC}"/>
          </ac:cxnSpMkLst>
        </pc:cxnChg>
        <pc:cxnChg chg="mod">
          <ac:chgData name="Petro Petrashko (UA)" userId="5b2b3b98-3131-48c7-bb8a-19b196a36949" providerId="ADAL" clId="{351FE23D-61E3-4217-9757-ECF8C23312BF}" dt="2024-06-26T13:59:01.882" v="207" actId="465"/>
          <ac:cxnSpMkLst>
            <pc:docMk/>
            <pc:sldMk cId="2214180997" sldId="2147481982"/>
            <ac:cxnSpMk id="15" creationId="{60508230-2256-BEAC-3F1B-1FBD12640BF7}"/>
          </ac:cxnSpMkLst>
        </pc:cxnChg>
        <pc:cxnChg chg="mod">
          <ac:chgData name="Petro Petrashko (UA)" userId="5b2b3b98-3131-48c7-bb8a-19b196a36949" providerId="ADAL" clId="{351FE23D-61E3-4217-9757-ECF8C23312BF}" dt="2024-06-26T13:59:01.882" v="207" actId="465"/>
          <ac:cxnSpMkLst>
            <pc:docMk/>
            <pc:sldMk cId="2214180997" sldId="2147481982"/>
            <ac:cxnSpMk id="16" creationId="{1E7CC1BC-C16B-82D6-0EA2-3A181E8600F1}"/>
          </ac:cxnSpMkLst>
        </pc:cxnChg>
        <pc:cxnChg chg="mod">
          <ac:chgData name="Petro Petrashko (UA)" userId="5b2b3b98-3131-48c7-bb8a-19b196a36949" providerId="ADAL" clId="{351FE23D-61E3-4217-9757-ECF8C23312BF}" dt="2024-06-26T13:59:01.882" v="207" actId="465"/>
          <ac:cxnSpMkLst>
            <pc:docMk/>
            <pc:sldMk cId="2214180997" sldId="2147481982"/>
            <ac:cxnSpMk id="59" creationId="{7E500747-C848-E521-FDAE-12CD91281C7E}"/>
          </ac:cxnSpMkLst>
        </pc:cxnChg>
      </pc:sldChg>
      <pc:sldChg chg="addSp delSp modSp mod">
        <pc:chgData name="Petro Petrashko (UA)" userId="5b2b3b98-3131-48c7-bb8a-19b196a36949" providerId="ADAL" clId="{351FE23D-61E3-4217-9757-ECF8C23312BF}" dt="2024-06-26T14:10:06.009" v="588"/>
        <pc:sldMkLst>
          <pc:docMk/>
          <pc:sldMk cId="820934104" sldId="2147481983"/>
        </pc:sldMkLst>
        <pc:spChg chg="mod">
          <ac:chgData name="Petro Petrashko (UA)" userId="5b2b3b98-3131-48c7-bb8a-19b196a36949" providerId="ADAL" clId="{351FE23D-61E3-4217-9757-ECF8C23312BF}" dt="2024-06-26T14:10:05.850" v="550" actId="948"/>
          <ac:spMkLst>
            <pc:docMk/>
            <pc:sldMk cId="820934104" sldId="2147481983"/>
            <ac:spMk id="2" creationId="{EC47296D-9568-ED7D-0457-80174E2BF2F8}"/>
          </ac:spMkLst>
        </pc:spChg>
        <pc:spChg chg="add del mod modVis">
          <ac:chgData name="Petro Petrashko (UA)" userId="5b2b3b98-3131-48c7-bb8a-19b196a36949" providerId="ADAL" clId="{351FE23D-61E3-4217-9757-ECF8C23312BF}" dt="2024-06-26T14:10:05.968" v="573"/>
          <ac:spMkLst>
            <pc:docMk/>
            <pc:sldMk cId="820934104" sldId="2147481983"/>
            <ac:spMk id="11" creationId="{D4CEFADD-0C39-E173-5A83-10686CDCA8C3}"/>
          </ac:spMkLst>
        </pc:spChg>
        <pc:spChg chg="mod">
          <ac:chgData name="Petro Petrashko (UA)" userId="5b2b3b98-3131-48c7-bb8a-19b196a36949" providerId="ADAL" clId="{351FE23D-61E3-4217-9757-ECF8C23312BF}" dt="2024-06-26T14:10:03.178" v="548" actId="164"/>
          <ac:spMkLst>
            <pc:docMk/>
            <pc:sldMk cId="820934104" sldId="2147481983"/>
            <ac:spMk id="57" creationId="{A073C5EE-5299-ADD0-94D7-3170276FA166}"/>
          </ac:spMkLst>
        </pc:spChg>
        <pc:spChg chg="mod">
          <ac:chgData name="Petro Petrashko (UA)" userId="5b2b3b98-3131-48c7-bb8a-19b196a36949" providerId="ADAL" clId="{351FE23D-61E3-4217-9757-ECF8C23312BF}" dt="2024-06-26T14:10:03.178" v="548" actId="164"/>
          <ac:spMkLst>
            <pc:docMk/>
            <pc:sldMk cId="820934104" sldId="2147481983"/>
            <ac:spMk id="58" creationId="{1CA40E5F-52E1-906F-10FD-B58385773173}"/>
          </ac:spMkLst>
        </pc:spChg>
        <pc:spChg chg="mod">
          <ac:chgData name="Petro Petrashko (UA)" userId="5b2b3b98-3131-48c7-bb8a-19b196a36949" providerId="ADAL" clId="{351FE23D-61E3-4217-9757-ECF8C23312BF}" dt="2024-06-26T14:10:03.178" v="548" actId="164"/>
          <ac:spMkLst>
            <pc:docMk/>
            <pc:sldMk cId="820934104" sldId="2147481983"/>
            <ac:spMk id="72" creationId="{2543AFCA-7DBC-4F76-9DA2-D2643AE45BA9}"/>
          </ac:spMkLst>
        </pc:spChg>
        <pc:spChg chg="mod">
          <ac:chgData name="Petro Petrashko (UA)" userId="5b2b3b98-3131-48c7-bb8a-19b196a36949" providerId="ADAL" clId="{351FE23D-61E3-4217-9757-ECF8C23312BF}" dt="2024-06-26T14:10:03.178" v="548" actId="164"/>
          <ac:spMkLst>
            <pc:docMk/>
            <pc:sldMk cId="820934104" sldId="2147481983"/>
            <ac:spMk id="73" creationId="{C3973224-0FDE-AB92-CA48-254692E39197}"/>
          </ac:spMkLst>
        </pc:spChg>
        <pc:spChg chg="mod">
          <ac:chgData name="Petro Petrashko (UA)" userId="5b2b3b98-3131-48c7-bb8a-19b196a36949" providerId="ADAL" clId="{351FE23D-61E3-4217-9757-ECF8C23312BF}" dt="2024-06-26T14:10:03.178" v="548" actId="164"/>
          <ac:spMkLst>
            <pc:docMk/>
            <pc:sldMk cId="820934104" sldId="2147481983"/>
            <ac:spMk id="79" creationId="{33E6C1AD-B972-C1DB-5544-0E474CB14E21}"/>
          </ac:spMkLst>
        </pc:spChg>
        <pc:spChg chg="mod">
          <ac:chgData name="Petro Petrashko (UA)" userId="5b2b3b98-3131-48c7-bb8a-19b196a36949" providerId="ADAL" clId="{351FE23D-61E3-4217-9757-ECF8C23312BF}" dt="2024-06-26T14:10:03.178" v="548" actId="164"/>
          <ac:spMkLst>
            <pc:docMk/>
            <pc:sldMk cId="820934104" sldId="2147481983"/>
            <ac:spMk id="80" creationId="{19338F7A-E7EA-96BA-EA8F-E1DB08E2C178}"/>
          </ac:spMkLst>
        </pc:spChg>
        <pc:spChg chg="mod">
          <ac:chgData name="Petro Petrashko (UA)" userId="5b2b3b98-3131-48c7-bb8a-19b196a36949" providerId="ADAL" clId="{351FE23D-61E3-4217-9757-ECF8C23312BF}" dt="2024-06-26T14:10:03.178" v="548" actId="164"/>
          <ac:spMkLst>
            <pc:docMk/>
            <pc:sldMk cId="820934104" sldId="2147481983"/>
            <ac:spMk id="83" creationId="{85C12B75-1D6E-881F-E30B-68674AFA8E56}"/>
          </ac:spMkLst>
        </pc:spChg>
        <pc:spChg chg="mod">
          <ac:chgData name="Petro Petrashko (UA)" userId="5b2b3b98-3131-48c7-bb8a-19b196a36949" providerId="ADAL" clId="{351FE23D-61E3-4217-9757-ECF8C23312BF}" dt="2024-06-26T14:10:03.178" v="548" actId="164"/>
          <ac:spMkLst>
            <pc:docMk/>
            <pc:sldMk cId="820934104" sldId="2147481983"/>
            <ac:spMk id="84" creationId="{7F96781D-05E5-6540-1293-76F097AE987A}"/>
          </ac:spMkLst>
        </pc:spChg>
        <pc:spChg chg="mod">
          <ac:chgData name="Petro Petrashko (UA)" userId="5b2b3b98-3131-48c7-bb8a-19b196a36949" providerId="ADAL" clId="{351FE23D-61E3-4217-9757-ECF8C23312BF}" dt="2024-06-26T14:10:03.178" v="548" actId="164"/>
          <ac:spMkLst>
            <pc:docMk/>
            <pc:sldMk cId="820934104" sldId="2147481983"/>
            <ac:spMk id="89" creationId="{7AD0F22C-299C-4471-6C33-C68875EFE67F}"/>
          </ac:spMkLst>
        </pc:spChg>
        <pc:spChg chg="mod">
          <ac:chgData name="Petro Petrashko (UA)" userId="5b2b3b98-3131-48c7-bb8a-19b196a36949" providerId="ADAL" clId="{351FE23D-61E3-4217-9757-ECF8C23312BF}" dt="2024-06-26T14:10:03.178" v="548" actId="164"/>
          <ac:spMkLst>
            <pc:docMk/>
            <pc:sldMk cId="820934104" sldId="2147481983"/>
            <ac:spMk id="90" creationId="{0585702B-566A-3A03-DCD7-3B43A25AAD0D}"/>
          </ac:spMkLst>
        </pc:spChg>
        <pc:grpChg chg="add mod">
          <ac:chgData name="Petro Petrashko (UA)" userId="5b2b3b98-3131-48c7-bb8a-19b196a36949" providerId="ADAL" clId="{351FE23D-61E3-4217-9757-ECF8C23312BF}" dt="2024-06-26T14:10:05.162" v="549" actId="552"/>
          <ac:grpSpMkLst>
            <pc:docMk/>
            <pc:sldMk cId="820934104" sldId="2147481983"/>
            <ac:grpSpMk id="10" creationId="{3D9F3007-5FB1-2326-9A43-7836A0DC65D7}"/>
          </ac:grpSpMkLst>
        </pc:grpChg>
        <pc:graphicFrameChg chg="add mod ord modVis replST">
          <ac:chgData name="Petro Petrashko (UA)" userId="5b2b3b98-3131-48c7-bb8a-19b196a36949" providerId="ADAL" clId="{351FE23D-61E3-4217-9757-ECF8C23312BF}" dt="2024-06-26T14:10:06.009" v="588"/>
          <ac:graphicFrameMkLst>
            <pc:docMk/>
            <pc:sldMk cId="820934104" sldId="2147481983"/>
            <ac:graphicFrameMk id="23" creationId="{3748B94F-D3E5-14F9-55EC-1C4429A63C69}"/>
          </ac:graphicFrameMkLst>
        </pc:graphicFrameChg>
      </pc:sldChg>
      <pc:sldChg chg="addSp delSp modSp mod">
        <pc:chgData name="Petro Petrashko (UA)" userId="5b2b3b98-3131-48c7-bb8a-19b196a36949" providerId="ADAL" clId="{351FE23D-61E3-4217-9757-ECF8C23312BF}" dt="2024-06-26T14:11:43.675" v="998"/>
        <pc:sldMkLst>
          <pc:docMk/>
          <pc:sldMk cId="28118731" sldId="2147481984"/>
        </pc:sldMkLst>
        <pc:spChg chg="mod">
          <ac:chgData name="Petro Petrashko (UA)" userId="5b2b3b98-3131-48c7-bb8a-19b196a36949" providerId="ADAL" clId="{351FE23D-61E3-4217-9757-ECF8C23312BF}" dt="2024-06-26T14:11:43.580" v="960" actId="948"/>
          <ac:spMkLst>
            <pc:docMk/>
            <pc:sldMk cId="28118731" sldId="2147481984"/>
            <ac:spMk id="2" creationId="{EC47296D-9568-ED7D-0457-80174E2BF2F8}"/>
          </ac:spMkLst>
        </pc:spChg>
        <pc:spChg chg="mod">
          <ac:chgData name="Petro Petrashko (UA)" userId="5b2b3b98-3131-48c7-bb8a-19b196a36949" providerId="ADAL" clId="{351FE23D-61E3-4217-9757-ECF8C23312BF}" dt="2024-06-26T14:06:05.943" v="521"/>
          <ac:spMkLst>
            <pc:docMk/>
            <pc:sldMk cId="28118731" sldId="2147481984"/>
            <ac:spMk id="11" creationId="{2F668725-21FE-4B89-C3F4-E8A37F300912}"/>
          </ac:spMkLst>
        </pc:spChg>
        <pc:spChg chg="mod">
          <ac:chgData name="Petro Petrashko (UA)" userId="5b2b3b98-3131-48c7-bb8a-19b196a36949" providerId="ADAL" clId="{351FE23D-61E3-4217-9757-ECF8C23312BF}" dt="2024-06-26T14:06:51.490" v="535" actId="164"/>
          <ac:spMkLst>
            <pc:docMk/>
            <pc:sldMk cId="28118731" sldId="2147481984"/>
            <ac:spMk id="14" creationId="{69CFE8AA-8BE2-A62E-A1B9-8B4AE9C53218}"/>
          </ac:spMkLst>
        </pc:spChg>
        <pc:spChg chg="mod">
          <ac:chgData name="Petro Petrashko (UA)" userId="5b2b3b98-3131-48c7-bb8a-19b196a36949" providerId="ADAL" clId="{351FE23D-61E3-4217-9757-ECF8C23312BF}" dt="2024-06-26T14:06:45.259" v="533" actId="164"/>
          <ac:spMkLst>
            <pc:docMk/>
            <pc:sldMk cId="28118731" sldId="2147481984"/>
            <ac:spMk id="17" creationId="{F910971B-2255-41F9-8303-8F4AF0AD11A8}"/>
          </ac:spMkLst>
        </pc:spChg>
        <pc:spChg chg="mod">
          <ac:chgData name="Petro Petrashko (UA)" userId="5b2b3b98-3131-48c7-bb8a-19b196a36949" providerId="ADAL" clId="{351FE23D-61E3-4217-9757-ECF8C23312BF}" dt="2024-06-26T14:06:51.490" v="535" actId="164"/>
          <ac:spMkLst>
            <pc:docMk/>
            <pc:sldMk cId="28118731" sldId="2147481984"/>
            <ac:spMk id="18" creationId="{B8EA7805-296B-5D47-944C-D538156BAD89}"/>
          </ac:spMkLst>
        </pc:spChg>
        <pc:spChg chg="mod">
          <ac:chgData name="Petro Petrashko (UA)" userId="5b2b3b98-3131-48c7-bb8a-19b196a36949" providerId="ADAL" clId="{351FE23D-61E3-4217-9757-ECF8C23312BF}" dt="2024-06-26T14:06:51.490" v="535" actId="164"/>
          <ac:spMkLst>
            <pc:docMk/>
            <pc:sldMk cId="28118731" sldId="2147481984"/>
            <ac:spMk id="19" creationId="{C0C5A184-30D0-DA46-BFBE-D02A00834DD6}"/>
          </ac:spMkLst>
        </pc:spChg>
        <pc:spChg chg="mod topLvl">
          <ac:chgData name="Petro Petrashko (UA)" userId="5b2b3b98-3131-48c7-bb8a-19b196a36949" providerId="ADAL" clId="{351FE23D-61E3-4217-9757-ECF8C23312BF}" dt="2024-06-26T14:11:38.610" v="956" actId="165"/>
          <ac:spMkLst>
            <pc:docMk/>
            <pc:sldMk cId="28118731" sldId="2147481984"/>
            <ac:spMk id="20" creationId="{A4EAD244-3E35-CF16-9610-C9DD5B3A3D07}"/>
          </ac:spMkLst>
        </pc:spChg>
        <pc:spChg chg="mod">
          <ac:chgData name="Petro Petrashko (UA)" userId="5b2b3b98-3131-48c7-bb8a-19b196a36949" providerId="ADAL" clId="{351FE23D-61E3-4217-9757-ECF8C23312BF}" dt="2024-06-26T14:06:45.259" v="533" actId="164"/>
          <ac:spMkLst>
            <pc:docMk/>
            <pc:sldMk cId="28118731" sldId="2147481984"/>
            <ac:spMk id="21" creationId="{B3BACB13-7F5F-7706-5C2F-1B17B9E4C0A1}"/>
          </ac:spMkLst>
        </pc:spChg>
        <pc:spChg chg="mod">
          <ac:chgData name="Petro Petrashko (UA)" userId="5b2b3b98-3131-48c7-bb8a-19b196a36949" providerId="ADAL" clId="{351FE23D-61E3-4217-9757-ECF8C23312BF}" dt="2024-06-26T14:06:45.259" v="533" actId="164"/>
          <ac:spMkLst>
            <pc:docMk/>
            <pc:sldMk cId="28118731" sldId="2147481984"/>
            <ac:spMk id="22" creationId="{23636E8D-78E7-BF51-1737-96A4E2EF4240}"/>
          </ac:spMkLst>
        </pc:spChg>
        <pc:spChg chg="mod">
          <ac:chgData name="Petro Petrashko (UA)" userId="5b2b3b98-3131-48c7-bb8a-19b196a36949" providerId="ADAL" clId="{351FE23D-61E3-4217-9757-ECF8C23312BF}" dt="2024-06-26T14:06:05.943" v="521"/>
          <ac:spMkLst>
            <pc:docMk/>
            <pc:sldMk cId="28118731" sldId="2147481984"/>
            <ac:spMk id="24" creationId="{1E80BE0C-E0EF-D30F-5F20-7331E371B407}"/>
          </ac:spMkLst>
        </pc:spChg>
        <pc:spChg chg="mod topLvl">
          <ac:chgData name="Petro Petrashko (UA)" userId="5b2b3b98-3131-48c7-bb8a-19b196a36949" providerId="ADAL" clId="{351FE23D-61E3-4217-9757-ECF8C23312BF}" dt="2024-06-26T14:11:38.610" v="956" actId="165"/>
          <ac:spMkLst>
            <pc:docMk/>
            <pc:sldMk cId="28118731" sldId="2147481984"/>
            <ac:spMk id="40" creationId="{0397F1B3-1DAC-781B-5BE5-08FA024DC19C}"/>
          </ac:spMkLst>
        </pc:spChg>
        <pc:spChg chg="mod topLvl">
          <ac:chgData name="Petro Petrashko (UA)" userId="5b2b3b98-3131-48c7-bb8a-19b196a36949" providerId="ADAL" clId="{351FE23D-61E3-4217-9757-ECF8C23312BF}" dt="2024-06-26T14:11:38.610" v="956" actId="165"/>
          <ac:spMkLst>
            <pc:docMk/>
            <pc:sldMk cId="28118731" sldId="2147481984"/>
            <ac:spMk id="41" creationId="{66A14158-E11A-E312-8696-ADD9D0E04629}"/>
          </ac:spMkLst>
        </pc:spChg>
        <pc:spChg chg="mod topLvl">
          <ac:chgData name="Petro Petrashko (UA)" userId="5b2b3b98-3131-48c7-bb8a-19b196a36949" providerId="ADAL" clId="{351FE23D-61E3-4217-9757-ECF8C23312BF}" dt="2024-06-26T14:11:38.610" v="956" actId="165"/>
          <ac:spMkLst>
            <pc:docMk/>
            <pc:sldMk cId="28118731" sldId="2147481984"/>
            <ac:spMk id="42" creationId="{986F6EBD-76CF-AA8A-DC11-0900DE8A8EB0}"/>
          </ac:spMkLst>
        </pc:spChg>
        <pc:spChg chg="add del mod modVis">
          <ac:chgData name="Petro Petrashko (UA)" userId="5b2b3b98-3131-48c7-bb8a-19b196a36949" providerId="ADAL" clId="{351FE23D-61E3-4217-9757-ECF8C23312BF}" dt="2024-06-26T14:11:43.614" v="983"/>
          <ac:spMkLst>
            <pc:docMk/>
            <pc:sldMk cId="28118731" sldId="2147481984"/>
            <ac:spMk id="47" creationId="{214A38F4-1E8D-AFBB-8014-F85799F9B669}"/>
          </ac:spMkLst>
        </pc:spChg>
        <pc:spChg chg="mod topLvl">
          <ac:chgData name="Petro Petrashko (UA)" userId="5b2b3b98-3131-48c7-bb8a-19b196a36949" providerId="ADAL" clId="{351FE23D-61E3-4217-9757-ECF8C23312BF}" dt="2024-06-26T14:11:38.610" v="956" actId="165"/>
          <ac:spMkLst>
            <pc:docMk/>
            <pc:sldMk cId="28118731" sldId="2147481984"/>
            <ac:spMk id="52" creationId="{54140961-D367-FFB1-E0FC-3F385487D472}"/>
          </ac:spMkLst>
        </pc:spChg>
        <pc:spChg chg="mod topLvl">
          <ac:chgData name="Petro Petrashko (UA)" userId="5b2b3b98-3131-48c7-bb8a-19b196a36949" providerId="ADAL" clId="{351FE23D-61E3-4217-9757-ECF8C23312BF}" dt="2024-06-26T14:11:40.787" v="957" actId="164"/>
          <ac:spMkLst>
            <pc:docMk/>
            <pc:sldMk cId="28118731" sldId="2147481984"/>
            <ac:spMk id="57" creationId="{A073C5EE-5299-ADD0-94D7-3170276FA166}"/>
          </ac:spMkLst>
        </pc:spChg>
        <pc:spChg chg="mod topLvl">
          <ac:chgData name="Petro Petrashko (UA)" userId="5b2b3b98-3131-48c7-bb8a-19b196a36949" providerId="ADAL" clId="{351FE23D-61E3-4217-9757-ECF8C23312BF}" dt="2024-06-26T14:11:40.787" v="957" actId="164"/>
          <ac:spMkLst>
            <pc:docMk/>
            <pc:sldMk cId="28118731" sldId="2147481984"/>
            <ac:spMk id="58" creationId="{1CA40E5F-52E1-906F-10FD-B58385773173}"/>
          </ac:spMkLst>
        </pc:spChg>
        <pc:spChg chg="mod">
          <ac:chgData name="Petro Petrashko (UA)" userId="5b2b3b98-3131-48c7-bb8a-19b196a36949" providerId="ADAL" clId="{351FE23D-61E3-4217-9757-ECF8C23312BF}" dt="2024-06-26T14:06:53.536" v="536" actId="164"/>
          <ac:spMkLst>
            <pc:docMk/>
            <pc:sldMk cId="28118731" sldId="2147481984"/>
            <ac:spMk id="66" creationId="{F013B6EF-6664-55FA-8A95-9B25B931D676}"/>
          </ac:spMkLst>
        </pc:spChg>
        <pc:spChg chg="mod topLvl">
          <ac:chgData name="Petro Petrashko (UA)" userId="5b2b3b98-3131-48c7-bb8a-19b196a36949" providerId="ADAL" clId="{351FE23D-61E3-4217-9757-ECF8C23312BF}" dt="2024-06-26T14:11:40.787" v="957" actId="164"/>
          <ac:spMkLst>
            <pc:docMk/>
            <pc:sldMk cId="28118731" sldId="2147481984"/>
            <ac:spMk id="72" creationId="{2543AFCA-7DBC-4F76-9DA2-D2643AE45BA9}"/>
          </ac:spMkLst>
        </pc:spChg>
        <pc:spChg chg="mod topLvl">
          <ac:chgData name="Petro Petrashko (UA)" userId="5b2b3b98-3131-48c7-bb8a-19b196a36949" providerId="ADAL" clId="{351FE23D-61E3-4217-9757-ECF8C23312BF}" dt="2024-06-26T14:11:40.787" v="957" actId="164"/>
          <ac:spMkLst>
            <pc:docMk/>
            <pc:sldMk cId="28118731" sldId="2147481984"/>
            <ac:spMk id="73" creationId="{C3973224-0FDE-AB92-CA48-254692E39197}"/>
          </ac:spMkLst>
        </pc:spChg>
        <pc:spChg chg="mod topLvl">
          <ac:chgData name="Petro Petrashko (UA)" userId="5b2b3b98-3131-48c7-bb8a-19b196a36949" providerId="ADAL" clId="{351FE23D-61E3-4217-9757-ECF8C23312BF}" dt="2024-06-26T14:11:40.787" v="957" actId="164"/>
          <ac:spMkLst>
            <pc:docMk/>
            <pc:sldMk cId="28118731" sldId="2147481984"/>
            <ac:spMk id="79" creationId="{33E6C1AD-B972-C1DB-5544-0E474CB14E21}"/>
          </ac:spMkLst>
        </pc:spChg>
        <pc:spChg chg="mod topLvl">
          <ac:chgData name="Petro Petrashko (UA)" userId="5b2b3b98-3131-48c7-bb8a-19b196a36949" providerId="ADAL" clId="{351FE23D-61E3-4217-9757-ECF8C23312BF}" dt="2024-06-26T14:11:40.787" v="957" actId="164"/>
          <ac:spMkLst>
            <pc:docMk/>
            <pc:sldMk cId="28118731" sldId="2147481984"/>
            <ac:spMk id="80" creationId="{19338F7A-E7EA-96BA-EA8F-E1DB08E2C178}"/>
          </ac:spMkLst>
        </pc:spChg>
        <pc:spChg chg="mod topLvl">
          <ac:chgData name="Petro Petrashko (UA)" userId="5b2b3b98-3131-48c7-bb8a-19b196a36949" providerId="ADAL" clId="{351FE23D-61E3-4217-9757-ECF8C23312BF}" dt="2024-06-26T14:11:40.787" v="957" actId="164"/>
          <ac:spMkLst>
            <pc:docMk/>
            <pc:sldMk cId="28118731" sldId="2147481984"/>
            <ac:spMk id="83" creationId="{85C12B75-1D6E-881F-E30B-68674AFA8E56}"/>
          </ac:spMkLst>
        </pc:spChg>
        <pc:spChg chg="mod topLvl">
          <ac:chgData name="Petro Petrashko (UA)" userId="5b2b3b98-3131-48c7-bb8a-19b196a36949" providerId="ADAL" clId="{351FE23D-61E3-4217-9757-ECF8C23312BF}" dt="2024-06-26T14:11:40.787" v="957" actId="164"/>
          <ac:spMkLst>
            <pc:docMk/>
            <pc:sldMk cId="28118731" sldId="2147481984"/>
            <ac:spMk id="84" creationId="{7F96781D-05E5-6540-1293-76F097AE987A}"/>
          </ac:spMkLst>
        </pc:spChg>
        <pc:spChg chg="mod topLvl">
          <ac:chgData name="Petro Petrashko (UA)" userId="5b2b3b98-3131-48c7-bb8a-19b196a36949" providerId="ADAL" clId="{351FE23D-61E3-4217-9757-ECF8C23312BF}" dt="2024-06-26T14:11:40.787" v="957" actId="164"/>
          <ac:spMkLst>
            <pc:docMk/>
            <pc:sldMk cId="28118731" sldId="2147481984"/>
            <ac:spMk id="89" creationId="{7AD0F22C-299C-4471-6C33-C68875EFE67F}"/>
          </ac:spMkLst>
        </pc:spChg>
        <pc:spChg chg="mod topLvl">
          <ac:chgData name="Petro Petrashko (UA)" userId="5b2b3b98-3131-48c7-bb8a-19b196a36949" providerId="ADAL" clId="{351FE23D-61E3-4217-9757-ECF8C23312BF}" dt="2024-06-26T14:11:40.787" v="957" actId="164"/>
          <ac:spMkLst>
            <pc:docMk/>
            <pc:sldMk cId="28118731" sldId="2147481984"/>
            <ac:spMk id="90" creationId="{0585702B-566A-3A03-DCD7-3B43A25AAD0D}"/>
          </ac:spMkLst>
        </pc:spChg>
        <pc:spChg chg="mod">
          <ac:chgData name="Petro Petrashko (UA)" userId="5b2b3b98-3131-48c7-bb8a-19b196a36949" providerId="ADAL" clId="{351FE23D-61E3-4217-9757-ECF8C23312BF}" dt="2024-06-26T14:06:53.536" v="536" actId="164"/>
          <ac:spMkLst>
            <pc:docMk/>
            <pc:sldMk cId="28118731" sldId="2147481984"/>
            <ac:spMk id="95" creationId="{443FAA3C-0F7C-AD6B-CBF1-68825DEE28EF}"/>
          </ac:spMkLst>
        </pc:spChg>
        <pc:spChg chg="mod">
          <ac:chgData name="Petro Petrashko (UA)" userId="5b2b3b98-3131-48c7-bb8a-19b196a36949" providerId="ADAL" clId="{351FE23D-61E3-4217-9757-ECF8C23312BF}" dt="2024-06-26T14:06:53.536" v="536" actId="164"/>
          <ac:spMkLst>
            <pc:docMk/>
            <pc:sldMk cId="28118731" sldId="2147481984"/>
            <ac:spMk id="96" creationId="{F8E7CD43-EB84-01FE-1CF1-D4FC0D81A442}"/>
          </ac:spMkLst>
        </pc:spChg>
        <pc:grpChg chg="add del mod">
          <ac:chgData name="Petro Petrashko (UA)" userId="5b2b3b98-3131-48c7-bb8a-19b196a36949" providerId="ADAL" clId="{351FE23D-61E3-4217-9757-ECF8C23312BF}" dt="2024-06-26T14:06:12.629" v="524" actId="478"/>
          <ac:grpSpMkLst>
            <pc:docMk/>
            <pc:sldMk cId="28118731" sldId="2147481984"/>
            <ac:grpSpMk id="10" creationId="{AC9E20B9-053B-EB12-3F0F-0387A6E28C50}"/>
          </ac:grpSpMkLst>
        </pc:grpChg>
        <pc:grpChg chg="add del mod">
          <ac:chgData name="Petro Petrashko (UA)" userId="5b2b3b98-3131-48c7-bb8a-19b196a36949" providerId="ADAL" clId="{351FE23D-61E3-4217-9757-ECF8C23312BF}" dt="2024-06-26T14:06:14.991" v="525" actId="165"/>
          <ac:grpSpMkLst>
            <pc:docMk/>
            <pc:sldMk cId="28118731" sldId="2147481984"/>
            <ac:grpSpMk id="26" creationId="{2AF20598-5DA3-47FC-064C-A2EF5E169E6C}"/>
          </ac:grpSpMkLst>
        </pc:grpChg>
        <pc:grpChg chg="add del mod">
          <ac:chgData name="Petro Petrashko (UA)" userId="5b2b3b98-3131-48c7-bb8a-19b196a36949" providerId="ADAL" clId="{351FE23D-61E3-4217-9757-ECF8C23312BF}" dt="2024-06-26T14:11:38.610" v="956" actId="165"/>
          <ac:grpSpMkLst>
            <pc:docMk/>
            <pc:sldMk cId="28118731" sldId="2147481984"/>
            <ac:grpSpMk id="28" creationId="{28C22736-AAC3-F887-56BD-DFCA085C2362}"/>
          </ac:grpSpMkLst>
        </pc:grpChg>
        <pc:grpChg chg="add del mod">
          <ac:chgData name="Petro Petrashko (UA)" userId="5b2b3b98-3131-48c7-bb8a-19b196a36949" providerId="ADAL" clId="{351FE23D-61E3-4217-9757-ECF8C23312BF}" dt="2024-06-26T14:11:38.610" v="956" actId="165"/>
          <ac:grpSpMkLst>
            <pc:docMk/>
            <pc:sldMk cId="28118731" sldId="2147481984"/>
            <ac:grpSpMk id="29" creationId="{20FD3A71-446B-FF06-44E8-0DAD9E71DC1C}"/>
          </ac:grpSpMkLst>
        </pc:grpChg>
        <pc:grpChg chg="add del mod">
          <ac:chgData name="Petro Petrashko (UA)" userId="5b2b3b98-3131-48c7-bb8a-19b196a36949" providerId="ADAL" clId="{351FE23D-61E3-4217-9757-ECF8C23312BF}" dt="2024-06-26T14:11:38.610" v="956" actId="165"/>
          <ac:grpSpMkLst>
            <pc:docMk/>
            <pc:sldMk cId="28118731" sldId="2147481984"/>
            <ac:grpSpMk id="30" creationId="{9F11FF39-A547-ABDF-1C30-E51BE4685F72}"/>
          </ac:grpSpMkLst>
        </pc:grpChg>
        <pc:grpChg chg="add del mod">
          <ac:chgData name="Petro Petrashko (UA)" userId="5b2b3b98-3131-48c7-bb8a-19b196a36949" providerId="ADAL" clId="{351FE23D-61E3-4217-9757-ECF8C23312BF}" dt="2024-06-26T14:11:38.610" v="956" actId="165"/>
          <ac:grpSpMkLst>
            <pc:docMk/>
            <pc:sldMk cId="28118731" sldId="2147481984"/>
            <ac:grpSpMk id="31" creationId="{3A643E4E-8A14-411C-4BF0-96B51DF4668F}"/>
          </ac:grpSpMkLst>
        </pc:grpChg>
        <pc:grpChg chg="add del mod">
          <ac:chgData name="Petro Petrashko (UA)" userId="5b2b3b98-3131-48c7-bb8a-19b196a36949" providerId="ADAL" clId="{351FE23D-61E3-4217-9757-ECF8C23312BF}" dt="2024-06-26T14:11:38.610" v="956" actId="165"/>
          <ac:grpSpMkLst>
            <pc:docMk/>
            <pc:sldMk cId="28118731" sldId="2147481984"/>
            <ac:grpSpMk id="34" creationId="{6EE1E9FF-75E7-B445-56CC-C0554AD3F423}"/>
          </ac:grpSpMkLst>
        </pc:grpChg>
        <pc:grpChg chg="add mod">
          <ac:chgData name="Petro Petrashko (UA)" userId="5b2b3b98-3131-48c7-bb8a-19b196a36949" providerId="ADAL" clId="{351FE23D-61E3-4217-9757-ECF8C23312BF}" dt="2024-06-26T14:09:28.483" v="544" actId="555"/>
          <ac:grpSpMkLst>
            <pc:docMk/>
            <pc:sldMk cId="28118731" sldId="2147481984"/>
            <ac:grpSpMk id="35" creationId="{9D994D3C-0B5C-C04D-9328-A29560F062BC}"/>
          </ac:grpSpMkLst>
        </pc:grpChg>
        <pc:grpChg chg="add mod">
          <ac:chgData name="Petro Petrashko (UA)" userId="5b2b3b98-3131-48c7-bb8a-19b196a36949" providerId="ADAL" clId="{351FE23D-61E3-4217-9757-ECF8C23312BF}" dt="2024-06-26T14:07:36.976" v="540" actId="465"/>
          <ac:grpSpMkLst>
            <pc:docMk/>
            <pc:sldMk cId="28118731" sldId="2147481984"/>
            <ac:grpSpMk id="36" creationId="{E97C9AF6-EF2C-A21C-4DD3-147299422C04}"/>
          </ac:grpSpMkLst>
        </pc:grpChg>
        <pc:grpChg chg="add mod">
          <ac:chgData name="Petro Petrashko (UA)" userId="5b2b3b98-3131-48c7-bb8a-19b196a36949" providerId="ADAL" clId="{351FE23D-61E3-4217-9757-ECF8C23312BF}" dt="2024-06-26T14:07:16.953" v="539" actId="465"/>
          <ac:grpSpMkLst>
            <pc:docMk/>
            <pc:sldMk cId="28118731" sldId="2147481984"/>
            <ac:grpSpMk id="43" creationId="{D40D455F-7EAB-93DB-3538-03AD491F0434}"/>
          </ac:grpSpMkLst>
        </pc:grpChg>
        <pc:grpChg chg="add mod">
          <ac:chgData name="Petro Petrashko (UA)" userId="5b2b3b98-3131-48c7-bb8a-19b196a36949" providerId="ADAL" clId="{351FE23D-61E3-4217-9757-ECF8C23312BF}" dt="2024-06-26T14:11:42.963" v="959" actId="552"/>
          <ac:grpSpMkLst>
            <pc:docMk/>
            <pc:sldMk cId="28118731" sldId="2147481984"/>
            <ac:grpSpMk id="45" creationId="{C0B71D80-C725-2567-7AFD-7CC6FA03448F}"/>
          </ac:grpSpMkLst>
        </pc:grpChg>
        <pc:graphicFrameChg chg="add mod ord modVis replST">
          <ac:chgData name="Petro Petrashko (UA)" userId="5b2b3b98-3131-48c7-bb8a-19b196a36949" providerId="ADAL" clId="{351FE23D-61E3-4217-9757-ECF8C23312BF}" dt="2024-06-26T14:11:43.675" v="998"/>
          <ac:graphicFrameMkLst>
            <pc:docMk/>
            <pc:sldMk cId="28118731" sldId="2147481984"/>
            <ac:graphicFrameMk id="49" creationId="{4ECA4EC1-4AF7-B0A9-BC88-A57CE40175C6}"/>
          </ac:graphicFrameMkLst>
        </pc:graphicFrameChg>
        <pc:picChg chg="mod">
          <ac:chgData name="Petro Petrashko (UA)" userId="5b2b3b98-3131-48c7-bb8a-19b196a36949" providerId="ADAL" clId="{351FE23D-61E3-4217-9757-ECF8C23312BF}" dt="2024-06-26T14:09:28.483" v="544" actId="555"/>
          <ac:picMkLst>
            <pc:docMk/>
            <pc:sldMk cId="28118731" sldId="2147481984"/>
            <ac:picMk id="48" creationId="{D0D5CD67-37F4-6905-E498-EC207DE06ED1}"/>
          </ac:picMkLst>
        </pc:picChg>
        <pc:cxnChg chg="mod">
          <ac:chgData name="Petro Petrashko (UA)" userId="5b2b3b98-3131-48c7-bb8a-19b196a36949" providerId="ADAL" clId="{351FE23D-61E3-4217-9757-ECF8C23312BF}" dt="2024-06-26T14:07:16.953" v="539" actId="465"/>
          <ac:cxnSpMkLst>
            <pc:docMk/>
            <pc:sldMk cId="28118731" sldId="2147481984"/>
            <ac:cxnSpMk id="6" creationId="{AA7A7FA2-43EB-E10E-9DB9-8125FF1E58FC}"/>
          </ac:cxnSpMkLst>
        </pc:cxnChg>
        <pc:cxnChg chg="mod">
          <ac:chgData name="Petro Petrashko (UA)" userId="5b2b3b98-3131-48c7-bb8a-19b196a36949" providerId="ADAL" clId="{351FE23D-61E3-4217-9757-ECF8C23312BF}" dt="2024-06-26T14:07:36.976" v="540" actId="465"/>
          <ac:cxnSpMkLst>
            <pc:docMk/>
            <pc:sldMk cId="28118731" sldId="2147481984"/>
            <ac:cxnSpMk id="12" creationId="{115247EA-EE3B-31EE-8D48-4898D35A3280}"/>
          </ac:cxnSpMkLst>
        </pc:cxnChg>
        <pc:cxnChg chg="mod">
          <ac:chgData name="Petro Petrashko (UA)" userId="5b2b3b98-3131-48c7-bb8a-19b196a36949" providerId="ADAL" clId="{351FE23D-61E3-4217-9757-ECF8C23312BF}" dt="2024-06-26T14:07:36.976" v="540" actId="465"/>
          <ac:cxnSpMkLst>
            <pc:docMk/>
            <pc:sldMk cId="28118731" sldId="2147481984"/>
            <ac:cxnSpMk id="13" creationId="{DBBAF735-721D-F52F-3F37-FEC03949D8CB}"/>
          </ac:cxnSpMkLst>
        </pc:cxnChg>
        <pc:cxnChg chg="mod">
          <ac:chgData name="Petro Petrashko (UA)" userId="5b2b3b98-3131-48c7-bb8a-19b196a36949" providerId="ADAL" clId="{351FE23D-61E3-4217-9757-ECF8C23312BF}" dt="2024-06-26T14:07:03.409" v="537" actId="465"/>
          <ac:cxnSpMkLst>
            <pc:docMk/>
            <pc:sldMk cId="28118731" sldId="2147481984"/>
            <ac:cxnSpMk id="15" creationId="{60508230-2256-BEAC-3F1B-1FBD12640BF7}"/>
          </ac:cxnSpMkLst>
        </pc:cxnChg>
        <pc:cxnChg chg="mod">
          <ac:chgData name="Petro Petrashko (UA)" userId="5b2b3b98-3131-48c7-bb8a-19b196a36949" providerId="ADAL" clId="{351FE23D-61E3-4217-9757-ECF8C23312BF}" dt="2024-06-26T14:07:03.409" v="537" actId="465"/>
          <ac:cxnSpMkLst>
            <pc:docMk/>
            <pc:sldMk cId="28118731" sldId="2147481984"/>
            <ac:cxnSpMk id="16" creationId="{1E7CC1BC-C16B-82D6-0EA2-3A181E8600F1}"/>
          </ac:cxnSpMkLst>
        </pc:cxnChg>
        <pc:cxnChg chg="mod">
          <ac:chgData name="Petro Petrashko (UA)" userId="5b2b3b98-3131-48c7-bb8a-19b196a36949" providerId="ADAL" clId="{351FE23D-61E3-4217-9757-ECF8C23312BF}" dt="2024-06-26T14:07:16.953" v="539" actId="465"/>
          <ac:cxnSpMkLst>
            <pc:docMk/>
            <pc:sldMk cId="28118731" sldId="2147481984"/>
            <ac:cxnSpMk id="59" creationId="{7E500747-C848-E521-FDAE-12CD91281C7E}"/>
          </ac:cxnSpMkLst>
        </pc:cxnChg>
      </pc:sldChg>
      <pc:sldChg chg="addSp delSp modSp mod">
        <pc:chgData name="Petro Petrashko (UA)" userId="5b2b3b98-3131-48c7-bb8a-19b196a36949" providerId="ADAL" clId="{351FE23D-61E3-4217-9757-ECF8C23312BF}" dt="2024-06-26T14:10:23.228" v="636"/>
        <pc:sldMkLst>
          <pc:docMk/>
          <pc:sldMk cId="1528034808" sldId="2147481985"/>
        </pc:sldMkLst>
        <pc:spChg chg="mod">
          <ac:chgData name="Petro Petrashko (UA)" userId="5b2b3b98-3131-48c7-bb8a-19b196a36949" providerId="ADAL" clId="{351FE23D-61E3-4217-9757-ECF8C23312BF}" dt="2024-06-26T14:10:23.134" v="594" actId="948"/>
          <ac:spMkLst>
            <pc:docMk/>
            <pc:sldMk cId="1528034808" sldId="2147481985"/>
            <ac:spMk id="2" creationId="{EC47296D-9568-ED7D-0457-80174E2BF2F8}"/>
          </ac:spMkLst>
        </pc:spChg>
        <pc:spChg chg="add del mod modVis">
          <ac:chgData name="Petro Petrashko (UA)" userId="5b2b3b98-3131-48c7-bb8a-19b196a36949" providerId="ADAL" clId="{351FE23D-61E3-4217-9757-ECF8C23312BF}" dt="2024-06-26T14:10:23.178" v="621"/>
          <ac:spMkLst>
            <pc:docMk/>
            <pc:sldMk cId="1528034808" sldId="2147481985"/>
            <ac:spMk id="4" creationId="{A6ABE66B-E495-E822-9AC5-E4121982AD6C}"/>
          </ac:spMkLst>
        </pc:spChg>
        <pc:spChg chg="mod">
          <ac:chgData name="Petro Petrashko (UA)" userId="5b2b3b98-3131-48c7-bb8a-19b196a36949" providerId="ADAL" clId="{351FE23D-61E3-4217-9757-ECF8C23312BF}" dt="2024-06-26T14:10:20.438" v="592" actId="164"/>
          <ac:spMkLst>
            <pc:docMk/>
            <pc:sldMk cId="1528034808" sldId="2147481985"/>
            <ac:spMk id="57" creationId="{A073C5EE-5299-ADD0-94D7-3170276FA166}"/>
          </ac:spMkLst>
        </pc:spChg>
        <pc:spChg chg="mod">
          <ac:chgData name="Petro Petrashko (UA)" userId="5b2b3b98-3131-48c7-bb8a-19b196a36949" providerId="ADAL" clId="{351FE23D-61E3-4217-9757-ECF8C23312BF}" dt="2024-06-26T14:10:20.438" v="592" actId="164"/>
          <ac:spMkLst>
            <pc:docMk/>
            <pc:sldMk cId="1528034808" sldId="2147481985"/>
            <ac:spMk id="58" creationId="{1CA40E5F-52E1-906F-10FD-B58385773173}"/>
          </ac:spMkLst>
        </pc:spChg>
        <pc:grpChg chg="add mod">
          <ac:chgData name="Petro Petrashko (UA)" userId="5b2b3b98-3131-48c7-bb8a-19b196a36949" providerId="ADAL" clId="{351FE23D-61E3-4217-9757-ECF8C23312BF}" dt="2024-06-26T14:10:22.565" v="593" actId="552"/>
          <ac:grpSpMkLst>
            <pc:docMk/>
            <pc:sldMk cId="1528034808" sldId="2147481985"/>
            <ac:grpSpMk id="3" creationId="{2D6035EB-21B7-A2AC-BF5F-3D0849CC3AE3}"/>
          </ac:grpSpMkLst>
        </pc:grpChg>
        <pc:graphicFrameChg chg="add mod ord modVis replST">
          <ac:chgData name="Petro Petrashko (UA)" userId="5b2b3b98-3131-48c7-bb8a-19b196a36949" providerId="ADAL" clId="{351FE23D-61E3-4217-9757-ECF8C23312BF}" dt="2024-06-26T14:10:23.228" v="636"/>
          <ac:graphicFrameMkLst>
            <pc:docMk/>
            <pc:sldMk cId="1528034808" sldId="2147481985"/>
            <ac:graphicFrameMk id="6" creationId="{062C7562-6D69-5005-C5F1-C5EA8C88C940}"/>
          </ac:graphicFrameMkLst>
        </pc:graphicFrameChg>
        <pc:picChg chg="mod modCrop">
          <ac:chgData name="Petro Petrashko (UA)" userId="5b2b3b98-3131-48c7-bb8a-19b196a36949" providerId="ADAL" clId="{351FE23D-61E3-4217-9757-ECF8C23312BF}" dt="2024-06-26T13:58:00.554" v="195" actId="732"/>
          <ac:picMkLst>
            <pc:docMk/>
            <pc:sldMk cId="1528034808" sldId="2147481985"/>
            <ac:picMk id="32" creationId="{81625016-7AFB-525A-A0DD-13D080F9F7CF}"/>
          </ac:picMkLst>
        </pc:picChg>
      </pc:sldChg>
      <pc:sldChg chg="addSp modSp mod">
        <pc:chgData name="Petro Petrashko (UA)" userId="5b2b3b98-3131-48c7-bb8a-19b196a36949" providerId="ADAL" clId="{351FE23D-61E3-4217-9757-ECF8C23312BF}" dt="2024-06-26T10:35:48.968" v="22" actId="255"/>
        <pc:sldMkLst>
          <pc:docMk/>
          <pc:sldMk cId="802236342" sldId="2147481991"/>
        </pc:sldMkLst>
        <pc:spChg chg="mod">
          <ac:chgData name="Petro Petrashko (UA)" userId="5b2b3b98-3131-48c7-bb8a-19b196a36949" providerId="ADAL" clId="{351FE23D-61E3-4217-9757-ECF8C23312BF}" dt="2024-06-26T10:35:48.968" v="22" actId="255"/>
          <ac:spMkLst>
            <pc:docMk/>
            <pc:sldMk cId="802236342" sldId="2147481991"/>
            <ac:spMk id="22" creationId="{DAE9E604-1C25-457F-090B-9B5F2D4E578F}"/>
          </ac:spMkLst>
        </pc:spChg>
        <pc:spChg chg="add mod">
          <ac:chgData name="Petro Petrashko (UA)" userId="5b2b3b98-3131-48c7-bb8a-19b196a36949" providerId="ADAL" clId="{351FE23D-61E3-4217-9757-ECF8C23312BF}" dt="2024-06-26T10:34:26.682" v="11" actId="1076"/>
          <ac:spMkLst>
            <pc:docMk/>
            <pc:sldMk cId="802236342" sldId="2147481991"/>
            <ac:spMk id="95" creationId="{22D4B225-D47B-7BF9-C1B5-24859137C3E4}"/>
          </ac:spMkLst>
        </pc:spChg>
        <pc:grpChg chg="mod">
          <ac:chgData name="Petro Petrashko (UA)" userId="5b2b3b98-3131-48c7-bb8a-19b196a36949" providerId="ADAL" clId="{351FE23D-61E3-4217-9757-ECF8C23312BF}" dt="2024-06-26T10:33:58.181" v="0" actId="465"/>
          <ac:grpSpMkLst>
            <pc:docMk/>
            <pc:sldMk cId="802236342" sldId="2147481991"/>
            <ac:grpSpMk id="86" creationId="{0F3ACE4A-2421-7789-1D8F-54497EBCE9E2}"/>
          </ac:grpSpMkLst>
        </pc:grpChg>
        <pc:grpChg chg="mod">
          <ac:chgData name="Petro Petrashko (UA)" userId="5b2b3b98-3131-48c7-bb8a-19b196a36949" providerId="ADAL" clId="{351FE23D-61E3-4217-9757-ECF8C23312BF}" dt="2024-06-26T10:33:58.181" v="0" actId="465"/>
          <ac:grpSpMkLst>
            <pc:docMk/>
            <pc:sldMk cId="802236342" sldId="2147481991"/>
            <ac:grpSpMk id="87" creationId="{0A0C89DD-319E-0866-7074-F3537FD36D58}"/>
          </ac:grpSpMkLst>
        </pc:grpChg>
        <pc:grpChg chg="mod">
          <ac:chgData name="Petro Petrashko (UA)" userId="5b2b3b98-3131-48c7-bb8a-19b196a36949" providerId="ADAL" clId="{351FE23D-61E3-4217-9757-ECF8C23312BF}" dt="2024-06-26T10:33:58.181" v="0" actId="465"/>
          <ac:grpSpMkLst>
            <pc:docMk/>
            <pc:sldMk cId="802236342" sldId="2147481991"/>
            <ac:grpSpMk id="88" creationId="{C92D1B10-F979-48C2-B24C-081F323555AE}"/>
          </ac:grpSpMkLst>
        </pc:grpChg>
        <pc:grpChg chg="mod">
          <ac:chgData name="Petro Petrashko (UA)" userId="5b2b3b98-3131-48c7-bb8a-19b196a36949" providerId="ADAL" clId="{351FE23D-61E3-4217-9757-ECF8C23312BF}" dt="2024-06-26T10:34:02.469" v="1" actId="1076"/>
          <ac:grpSpMkLst>
            <pc:docMk/>
            <pc:sldMk cId="802236342" sldId="2147481991"/>
            <ac:grpSpMk id="94" creationId="{3BB46F0B-411D-7168-8D0B-E5E1A567F70C}"/>
          </ac:grpSpMkLst>
        </pc:grpChg>
        <pc:cxnChg chg="mod">
          <ac:chgData name="Petro Petrashko (UA)" userId="5b2b3b98-3131-48c7-bb8a-19b196a36949" providerId="ADAL" clId="{351FE23D-61E3-4217-9757-ECF8C23312BF}" dt="2024-06-26T10:33:58.181" v="0" actId="465"/>
          <ac:cxnSpMkLst>
            <pc:docMk/>
            <pc:sldMk cId="802236342" sldId="2147481991"/>
            <ac:cxnSpMk id="4" creationId="{9128A8B2-9B22-0215-9482-2DD2B36E81B3}"/>
          </ac:cxnSpMkLst>
        </pc:cxnChg>
        <pc:cxnChg chg="mod">
          <ac:chgData name="Petro Petrashko (UA)" userId="5b2b3b98-3131-48c7-bb8a-19b196a36949" providerId="ADAL" clId="{351FE23D-61E3-4217-9757-ECF8C23312BF}" dt="2024-06-26T10:33:58.181" v="0" actId="465"/>
          <ac:cxnSpMkLst>
            <pc:docMk/>
            <pc:sldMk cId="802236342" sldId="2147481991"/>
            <ac:cxnSpMk id="11" creationId="{86CF91DB-4871-AE7B-3C9D-00EC6329D387}"/>
          </ac:cxnSpMkLst>
        </pc:cxnChg>
        <pc:cxnChg chg="mod">
          <ac:chgData name="Petro Petrashko (UA)" userId="5b2b3b98-3131-48c7-bb8a-19b196a36949" providerId="ADAL" clId="{351FE23D-61E3-4217-9757-ECF8C23312BF}" dt="2024-06-26T10:33:58.181" v="0" actId="465"/>
          <ac:cxnSpMkLst>
            <pc:docMk/>
            <pc:sldMk cId="802236342" sldId="2147481991"/>
            <ac:cxnSpMk id="12" creationId="{FE6BA565-B4D8-F247-E016-E204B472C39E}"/>
          </ac:cxnSpMkLst>
        </pc:cxnChg>
        <pc:cxnChg chg="mod">
          <ac:chgData name="Petro Petrashko (UA)" userId="5b2b3b98-3131-48c7-bb8a-19b196a36949" providerId="ADAL" clId="{351FE23D-61E3-4217-9757-ECF8C23312BF}" dt="2024-06-26T10:33:58.181" v="0" actId="465"/>
          <ac:cxnSpMkLst>
            <pc:docMk/>
            <pc:sldMk cId="802236342" sldId="2147481991"/>
            <ac:cxnSpMk id="16" creationId="{1E7CC1BC-C16B-82D6-0EA2-3A181E8600F1}"/>
          </ac:cxnSpMkLst>
        </pc:cxnChg>
      </pc:sldChg>
      <pc:sldChg chg="addSp delSp modSp mod">
        <pc:chgData name="Petro Petrashko (UA)" userId="5b2b3b98-3131-48c7-bb8a-19b196a36949" providerId="ADAL" clId="{351FE23D-61E3-4217-9757-ECF8C23312BF}" dt="2024-06-26T14:34:45.145" v="1219" actId="478"/>
        <pc:sldMkLst>
          <pc:docMk/>
          <pc:sldMk cId="1613844391" sldId="2147481992"/>
        </pc:sldMkLst>
        <pc:spChg chg="mod ord">
          <ac:chgData name="Petro Petrashko (UA)" userId="5b2b3b98-3131-48c7-bb8a-19b196a36949" providerId="ADAL" clId="{351FE23D-61E3-4217-9757-ECF8C23312BF}" dt="2024-06-26T14:32:57.892" v="1177"/>
          <ac:spMkLst>
            <pc:docMk/>
            <pc:sldMk cId="1613844391" sldId="2147481992"/>
            <ac:spMk id="2" creationId="{EC47296D-9568-ED7D-0457-80174E2BF2F8}"/>
          </ac:spMkLst>
        </pc:spChg>
        <pc:spChg chg="mod topLvl">
          <ac:chgData name="Petro Petrashko (UA)" userId="5b2b3b98-3131-48c7-bb8a-19b196a36949" providerId="ADAL" clId="{351FE23D-61E3-4217-9757-ECF8C23312BF}" dt="2024-06-26T14:23:08.548" v="1081" actId="164"/>
          <ac:spMkLst>
            <pc:docMk/>
            <pc:sldMk cId="1613844391" sldId="2147481992"/>
            <ac:spMk id="10" creationId="{51187766-79AB-3948-D828-6DE1F7A2DC7F}"/>
          </ac:spMkLst>
        </pc:spChg>
        <pc:spChg chg="mod topLvl">
          <ac:chgData name="Petro Petrashko (UA)" userId="5b2b3b98-3131-48c7-bb8a-19b196a36949" providerId="ADAL" clId="{351FE23D-61E3-4217-9757-ECF8C23312BF}" dt="2024-06-26T14:23:08.548" v="1081" actId="164"/>
          <ac:spMkLst>
            <pc:docMk/>
            <pc:sldMk cId="1613844391" sldId="2147481992"/>
            <ac:spMk id="11" creationId="{45A3D1BB-AB8A-78FC-67E4-3110390D7C56}"/>
          </ac:spMkLst>
        </pc:spChg>
        <pc:spChg chg="mod topLvl">
          <ac:chgData name="Petro Petrashko (UA)" userId="5b2b3b98-3131-48c7-bb8a-19b196a36949" providerId="ADAL" clId="{351FE23D-61E3-4217-9757-ECF8C23312BF}" dt="2024-06-26T14:23:08.548" v="1081" actId="164"/>
          <ac:spMkLst>
            <pc:docMk/>
            <pc:sldMk cId="1613844391" sldId="2147481992"/>
            <ac:spMk id="12" creationId="{F15812ED-3612-58F0-3F42-83786447EF99}"/>
          </ac:spMkLst>
        </pc:spChg>
        <pc:spChg chg="del">
          <ac:chgData name="Petro Petrashko (UA)" userId="5b2b3b98-3131-48c7-bb8a-19b196a36949" providerId="ADAL" clId="{351FE23D-61E3-4217-9757-ECF8C23312BF}" dt="2024-06-26T14:32:52.659" v="1173" actId="478"/>
          <ac:spMkLst>
            <pc:docMk/>
            <pc:sldMk cId="1613844391" sldId="2147481992"/>
            <ac:spMk id="13" creationId="{68DABE15-A5F6-6D52-EC7D-BC1F02219274}"/>
          </ac:spMkLst>
        </pc:spChg>
        <pc:spChg chg="mod topLvl">
          <ac:chgData name="Petro Petrashko (UA)" userId="5b2b3b98-3131-48c7-bb8a-19b196a36949" providerId="ADAL" clId="{351FE23D-61E3-4217-9757-ECF8C23312BF}" dt="2024-06-26T14:23:04.612" v="1080" actId="164"/>
          <ac:spMkLst>
            <pc:docMk/>
            <pc:sldMk cId="1613844391" sldId="2147481992"/>
            <ac:spMk id="14" creationId="{D8F7AE61-B751-0B6B-228E-7A418D2EC00D}"/>
          </ac:spMkLst>
        </pc:spChg>
        <pc:spChg chg="mod topLvl">
          <ac:chgData name="Petro Petrashko (UA)" userId="5b2b3b98-3131-48c7-bb8a-19b196a36949" providerId="ADAL" clId="{351FE23D-61E3-4217-9757-ECF8C23312BF}" dt="2024-06-26T14:23:04.612" v="1080" actId="164"/>
          <ac:spMkLst>
            <pc:docMk/>
            <pc:sldMk cId="1613844391" sldId="2147481992"/>
            <ac:spMk id="22" creationId="{F6A8C2FE-5E94-A671-A2FB-B82BA60AE593}"/>
          </ac:spMkLst>
        </pc:spChg>
        <pc:spChg chg="mod topLvl">
          <ac:chgData name="Petro Petrashko (UA)" userId="5b2b3b98-3131-48c7-bb8a-19b196a36949" providerId="ADAL" clId="{351FE23D-61E3-4217-9757-ECF8C23312BF}" dt="2024-06-26T14:23:04.612" v="1080" actId="164"/>
          <ac:spMkLst>
            <pc:docMk/>
            <pc:sldMk cId="1613844391" sldId="2147481992"/>
            <ac:spMk id="29" creationId="{963CE3B2-0689-BBA9-CFCD-1725FC00718B}"/>
          </ac:spMkLst>
        </pc:spChg>
        <pc:spChg chg="mod topLvl">
          <ac:chgData name="Petro Petrashko (UA)" userId="5b2b3b98-3131-48c7-bb8a-19b196a36949" providerId="ADAL" clId="{351FE23D-61E3-4217-9757-ECF8C23312BF}" dt="2024-06-26T14:23:12.352" v="1082" actId="164"/>
          <ac:spMkLst>
            <pc:docMk/>
            <pc:sldMk cId="1613844391" sldId="2147481992"/>
            <ac:spMk id="31" creationId="{4F2FF167-7C7B-B9E6-3AFE-8A596E06FC6E}"/>
          </ac:spMkLst>
        </pc:spChg>
        <pc:spChg chg="mod topLvl">
          <ac:chgData name="Petro Petrashko (UA)" userId="5b2b3b98-3131-48c7-bb8a-19b196a36949" providerId="ADAL" clId="{351FE23D-61E3-4217-9757-ECF8C23312BF}" dt="2024-06-26T14:23:12.352" v="1082" actId="164"/>
          <ac:spMkLst>
            <pc:docMk/>
            <pc:sldMk cId="1613844391" sldId="2147481992"/>
            <ac:spMk id="32" creationId="{8D565256-1164-3A41-1BCA-A0CFECF31434}"/>
          </ac:spMkLst>
        </pc:spChg>
        <pc:spChg chg="mod topLvl">
          <ac:chgData name="Petro Petrashko (UA)" userId="5b2b3b98-3131-48c7-bb8a-19b196a36949" providerId="ADAL" clId="{351FE23D-61E3-4217-9757-ECF8C23312BF}" dt="2024-06-26T14:23:12.352" v="1082" actId="164"/>
          <ac:spMkLst>
            <pc:docMk/>
            <pc:sldMk cId="1613844391" sldId="2147481992"/>
            <ac:spMk id="33" creationId="{FB8CB5F3-EC2E-E5ED-556D-E5EFD1D0B13C}"/>
          </ac:spMkLst>
        </pc:spChg>
        <pc:spChg chg="mod topLvl">
          <ac:chgData name="Petro Petrashko (UA)" userId="5b2b3b98-3131-48c7-bb8a-19b196a36949" providerId="ADAL" clId="{351FE23D-61E3-4217-9757-ECF8C23312BF}" dt="2024-06-26T14:23:12.352" v="1082" actId="164"/>
          <ac:spMkLst>
            <pc:docMk/>
            <pc:sldMk cId="1613844391" sldId="2147481992"/>
            <ac:spMk id="35" creationId="{811931EC-6857-1B96-90C3-EBA4143A997B}"/>
          </ac:spMkLst>
        </pc:spChg>
        <pc:spChg chg="mod topLvl">
          <ac:chgData name="Petro Petrashko (UA)" userId="5b2b3b98-3131-48c7-bb8a-19b196a36949" providerId="ADAL" clId="{351FE23D-61E3-4217-9757-ECF8C23312BF}" dt="2024-06-26T14:23:12.352" v="1082" actId="164"/>
          <ac:spMkLst>
            <pc:docMk/>
            <pc:sldMk cId="1613844391" sldId="2147481992"/>
            <ac:spMk id="37" creationId="{2D51C834-187B-5F0A-FBAA-F1643F41C37B}"/>
          </ac:spMkLst>
        </pc:spChg>
        <pc:spChg chg="mod topLvl">
          <ac:chgData name="Petro Petrashko (UA)" userId="5b2b3b98-3131-48c7-bb8a-19b196a36949" providerId="ADAL" clId="{351FE23D-61E3-4217-9757-ECF8C23312BF}" dt="2024-06-26T14:23:12.352" v="1082" actId="164"/>
          <ac:spMkLst>
            <pc:docMk/>
            <pc:sldMk cId="1613844391" sldId="2147481992"/>
            <ac:spMk id="39" creationId="{5E4FBBF7-73AD-F722-B3B1-69175ACC2A39}"/>
          </ac:spMkLst>
        </pc:spChg>
        <pc:spChg chg="mod topLvl">
          <ac:chgData name="Petro Petrashko (UA)" userId="5b2b3b98-3131-48c7-bb8a-19b196a36949" providerId="ADAL" clId="{351FE23D-61E3-4217-9757-ECF8C23312BF}" dt="2024-06-26T14:23:08.548" v="1081" actId="164"/>
          <ac:spMkLst>
            <pc:docMk/>
            <pc:sldMk cId="1613844391" sldId="2147481992"/>
            <ac:spMk id="43" creationId="{F8B22F5E-FAAC-75DF-49F4-16340651EEE9}"/>
          </ac:spMkLst>
        </pc:spChg>
        <pc:spChg chg="add mod ord">
          <ac:chgData name="Petro Petrashko (UA)" userId="5b2b3b98-3131-48c7-bb8a-19b196a36949" providerId="ADAL" clId="{351FE23D-61E3-4217-9757-ECF8C23312BF}" dt="2024-06-26T14:34:17.521" v="1214" actId="554"/>
          <ac:spMkLst>
            <pc:docMk/>
            <pc:sldMk cId="1613844391" sldId="2147481992"/>
            <ac:spMk id="48" creationId="{8D2F592B-245C-22B7-41CF-F80BFB0E750F}"/>
          </ac:spMkLst>
        </pc:spChg>
        <pc:spChg chg="add del mod modVis">
          <ac:chgData name="Petro Petrashko (UA)" userId="5b2b3b98-3131-48c7-bb8a-19b196a36949" providerId="ADAL" clId="{351FE23D-61E3-4217-9757-ECF8C23312BF}" dt="2024-06-26T14:32:37.293" v="1156"/>
          <ac:spMkLst>
            <pc:docMk/>
            <pc:sldMk cId="1613844391" sldId="2147481992"/>
            <ac:spMk id="49" creationId="{0779E173-5C98-16D1-2806-2E79789354B8}"/>
          </ac:spMkLst>
        </pc:spChg>
        <pc:spChg chg="add del">
          <ac:chgData name="Petro Petrashko (UA)" userId="5b2b3b98-3131-48c7-bb8a-19b196a36949" providerId="ADAL" clId="{351FE23D-61E3-4217-9757-ECF8C23312BF}" dt="2024-06-26T14:34:45.145" v="1219" actId="478"/>
          <ac:spMkLst>
            <pc:docMk/>
            <pc:sldMk cId="1613844391" sldId="2147481992"/>
            <ac:spMk id="50" creationId="{F4E6A3E1-0C53-D9D3-CDED-31EDF5A1A774}"/>
          </ac:spMkLst>
        </pc:spChg>
        <pc:spChg chg="mod ord">
          <ac:chgData name="Petro Petrashko (UA)" userId="5b2b3b98-3131-48c7-bb8a-19b196a36949" providerId="ADAL" clId="{351FE23D-61E3-4217-9757-ECF8C23312BF}" dt="2024-06-26T14:34:37.302" v="1217" actId="1076"/>
          <ac:spMkLst>
            <pc:docMk/>
            <pc:sldMk cId="1613844391" sldId="2147481992"/>
            <ac:spMk id="51" creationId="{AF206590-85C6-978A-0EA2-5D58ECD8D4AF}"/>
          </ac:spMkLst>
        </pc:spChg>
        <pc:spChg chg="mod ord">
          <ac:chgData name="Petro Petrashko (UA)" userId="5b2b3b98-3131-48c7-bb8a-19b196a36949" providerId="ADAL" clId="{351FE23D-61E3-4217-9757-ECF8C23312BF}" dt="2024-06-26T14:34:37.302" v="1217" actId="1076"/>
          <ac:spMkLst>
            <pc:docMk/>
            <pc:sldMk cId="1613844391" sldId="2147481992"/>
            <ac:spMk id="52" creationId="{F7DD9070-AFBA-209D-AA31-2A5A758289ED}"/>
          </ac:spMkLst>
        </pc:spChg>
        <pc:spChg chg="mod topLvl">
          <ac:chgData name="Petro Petrashko (UA)" userId="5b2b3b98-3131-48c7-bb8a-19b196a36949" providerId="ADAL" clId="{351FE23D-61E3-4217-9757-ECF8C23312BF}" dt="2024-06-26T14:23:08.548" v="1081" actId="164"/>
          <ac:spMkLst>
            <pc:docMk/>
            <pc:sldMk cId="1613844391" sldId="2147481992"/>
            <ac:spMk id="54" creationId="{EE4D52E6-3945-607A-CD49-B0FBED36A37E}"/>
          </ac:spMkLst>
        </pc:spChg>
        <pc:spChg chg="mod topLvl">
          <ac:chgData name="Petro Petrashko (UA)" userId="5b2b3b98-3131-48c7-bb8a-19b196a36949" providerId="ADAL" clId="{351FE23D-61E3-4217-9757-ECF8C23312BF}" dt="2024-06-26T14:23:08.548" v="1081" actId="164"/>
          <ac:spMkLst>
            <pc:docMk/>
            <pc:sldMk cId="1613844391" sldId="2147481992"/>
            <ac:spMk id="55" creationId="{92AFCC23-7BBF-4DC8-B27C-CF740F20218E}"/>
          </ac:spMkLst>
        </pc:spChg>
        <pc:spChg chg="mod topLvl">
          <ac:chgData name="Petro Petrashko (UA)" userId="5b2b3b98-3131-48c7-bb8a-19b196a36949" providerId="ADAL" clId="{351FE23D-61E3-4217-9757-ECF8C23312BF}" dt="2024-06-26T14:23:04.612" v="1080" actId="164"/>
          <ac:spMkLst>
            <pc:docMk/>
            <pc:sldMk cId="1613844391" sldId="2147481992"/>
            <ac:spMk id="57" creationId="{E2D42F57-444E-76CB-BBCE-79669F05A24D}"/>
          </ac:spMkLst>
        </pc:spChg>
        <pc:spChg chg="mod topLvl">
          <ac:chgData name="Petro Petrashko (UA)" userId="5b2b3b98-3131-48c7-bb8a-19b196a36949" providerId="ADAL" clId="{351FE23D-61E3-4217-9757-ECF8C23312BF}" dt="2024-06-26T14:23:04.612" v="1080" actId="164"/>
          <ac:spMkLst>
            <pc:docMk/>
            <pc:sldMk cId="1613844391" sldId="2147481992"/>
            <ac:spMk id="58" creationId="{A186B658-9A0E-BBA7-9B21-44BC57CAA7F2}"/>
          </ac:spMkLst>
        </pc:spChg>
        <pc:spChg chg="mod topLvl">
          <ac:chgData name="Petro Petrashko (UA)" userId="5b2b3b98-3131-48c7-bb8a-19b196a36949" providerId="ADAL" clId="{351FE23D-61E3-4217-9757-ECF8C23312BF}" dt="2024-06-26T14:23:04.612" v="1080" actId="164"/>
          <ac:spMkLst>
            <pc:docMk/>
            <pc:sldMk cId="1613844391" sldId="2147481992"/>
            <ac:spMk id="59" creationId="{8F1E0B3E-E914-6820-0D81-D1ED9FAED68A}"/>
          </ac:spMkLst>
        </pc:spChg>
        <pc:spChg chg="mod ord">
          <ac:chgData name="Petro Petrashko (UA)" userId="5b2b3b98-3131-48c7-bb8a-19b196a36949" providerId="ADAL" clId="{351FE23D-61E3-4217-9757-ECF8C23312BF}" dt="2024-06-26T14:32:57.955" v="1197"/>
          <ac:spMkLst>
            <pc:docMk/>
            <pc:sldMk cId="1613844391" sldId="2147481992"/>
            <ac:spMk id="61" creationId="{CF6A31AA-8A7F-70C8-6B79-856B02CB0375}"/>
          </ac:spMkLst>
        </pc:spChg>
        <pc:spChg chg="add del mod">
          <ac:chgData name="Petro Petrashko (UA)" userId="5b2b3b98-3131-48c7-bb8a-19b196a36949" providerId="ADAL" clId="{351FE23D-61E3-4217-9757-ECF8C23312BF}" dt="2024-06-26T11:56:47.498" v="66" actId="478"/>
          <ac:spMkLst>
            <pc:docMk/>
            <pc:sldMk cId="1613844391" sldId="2147481992"/>
            <ac:spMk id="63" creationId="{9767D0AF-8042-1129-C220-36560F77CD42}"/>
          </ac:spMkLst>
        </pc:spChg>
        <pc:spChg chg="add del mod modVis">
          <ac:chgData name="Petro Petrashko (UA)" userId="5b2b3b98-3131-48c7-bb8a-19b196a36949" providerId="ADAL" clId="{351FE23D-61E3-4217-9757-ECF8C23312BF}" dt="2024-06-26T11:56:58.602" v="99"/>
          <ac:spMkLst>
            <pc:docMk/>
            <pc:sldMk cId="1613844391" sldId="2147481992"/>
            <ac:spMk id="67" creationId="{F0BF6D04-1F68-158C-F7FB-85036F7D8F09}"/>
          </ac:spMkLst>
        </pc:spChg>
        <pc:spChg chg="mod ord">
          <ac:chgData name="Petro Petrashko (UA)" userId="5b2b3b98-3131-48c7-bb8a-19b196a36949" providerId="ADAL" clId="{351FE23D-61E3-4217-9757-ECF8C23312BF}" dt="2024-06-26T14:32:57.914" v="1179"/>
          <ac:spMkLst>
            <pc:docMk/>
            <pc:sldMk cId="1613844391" sldId="2147481992"/>
            <ac:spMk id="97" creationId="{8FF7DDF1-7E6A-F978-68B7-8269C3B570E1}"/>
          </ac:spMkLst>
        </pc:spChg>
        <pc:grpChg chg="mod ord">
          <ac:chgData name="Petro Petrashko (UA)" userId="5b2b3b98-3131-48c7-bb8a-19b196a36949" providerId="ADAL" clId="{351FE23D-61E3-4217-9757-ECF8C23312BF}" dt="2024-06-26T14:32:57.914" v="1181"/>
          <ac:grpSpMkLst>
            <pc:docMk/>
            <pc:sldMk cId="1613844391" sldId="2147481992"/>
            <ac:grpSpMk id="3" creationId="{53A703A3-3975-F6E3-8DB1-7F94A02DBDD4}"/>
          </ac:grpSpMkLst>
        </pc:grpChg>
        <pc:grpChg chg="add mod">
          <ac:chgData name="Petro Petrashko (UA)" userId="5b2b3b98-3131-48c7-bb8a-19b196a36949" providerId="ADAL" clId="{351FE23D-61E3-4217-9757-ECF8C23312BF}" dt="2024-06-26T14:13:49.120" v="1014" actId="164"/>
          <ac:grpSpMkLst>
            <pc:docMk/>
            <pc:sldMk cId="1613844391" sldId="2147481992"/>
            <ac:grpSpMk id="15" creationId="{440873DB-5AEC-76C1-6ADA-502238A7051A}"/>
          </ac:grpSpMkLst>
        </pc:grpChg>
        <pc:grpChg chg="add mod">
          <ac:chgData name="Petro Petrashko (UA)" userId="5b2b3b98-3131-48c7-bb8a-19b196a36949" providerId="ADAL" clId="{351FE23D-61E3-4217-9757-ECF8C23312BF}" dt="2024-06-26T14:13:48.638" v="1013" actId="164"/>
          <ac:grpSpMkLst>
            <pc:docMk/>
            <pc:sldMk cId="1613844391" sldId="2147481992"/>
            <ac:grpSpMk id="16" creationId="{F716C00C-1BBE-D693-4B07-B23099F22FEB}"/>
          </ac:grpSpMkLst>
        </pc:grpChg>
        <pc:grpChg chg="add del mod">
          <ac:chgData name="Petro Petrashko (UA)" userId="5b2b3b98-3131-48c7-bb8a-19b196a36949" providerId="ADAL" clId="{351FE23D-61E3-4217-9757-ECF8C23312BF}" dt="2024-06-26T14:15:13.603" v="1031" actId="165"/>
          <ac:grpSpMkLst>
            <pc:docMk/>
            <pc:sldMk cId="1613844391" sldId="2147481992"/>
            <ac:grpSpMk id="17" creationId="{92AB4196-036C-7640-4DBC-235A3E6C869B}"/>
          </ac:grpSpMkLst>
        </pc:grpChg>
        <pc:grpChg chg="add del mod">
          <ac:chgData name="Petro Petrashko (UA)" userId="5b2b3b98-3131-48c7-bb8a-19b196a36949" providerId="ADAL" clId="{351FE23D-61E3-4217-9757-ECF8C23312BF}" dt="2024-06-26T14:15:13.603" v="1031" actId="165"/>
          <ac:grpSpMkLst>
            <pc:docMk/>
            <pc:sldMk cId="1613844391" sldId="2147481992"/>
            <ac:grpSpMk id="18" creationId="{544F539B-BC6B-4CFE-F492-86200D6C5672}"/>
          </ac:grpSpMkLst>
        </pc:grpChg>
        <pc:grpChg chg="add del mod">
          <ac:chgData name="Petro Petrashko (UA)" userId="5b2b3b98-3131-48c7-bb8a-19b196a36949" providerId="ADAL" clId="{351FE23D-61E3-4217-9757-ECF8C23312BF}" dt="2024-06-26T14:15:13.603" v="1031" actId="165"/>
          <ac:grpSpMkLst>
            <pc:docMk/>
            <pc:sldMk cId="1613844391" sldId="2147481992"/>
            <ac:grpSpMk id="19" creationId="{31542FA8-FB95-BBD3-9940-9FDA4805EE60}"/>
          </ac:grpSpMkLst>
        </pc:grpChg>
        <pc:grpChg chg="add del mod">
          <ac:chgData name="Petro Petrashko (UA)" userId="5b2b3b98-3131-48c7-bb8a-19b196a36949" providerId="ADAL" clId="{351FE23D-61E3-4217-9757-ECF8C23312BF}" dt="2024-06-26T14:22:35.810" v="1075" actId="165"/>
          <ac:grpSpMkLst>
            <pc:docMk/>
            <pc:sldMk cId="1613844391" sldId="2147481992"/>
            <ac:grpSpMk id="20" creationId="{B1295725-A00F-8C4F-80FF-54FAC9DFDD24}"/>
          </ac:grpSpMkLst>
        </pc:grpChg>
        <pc:grpChg chg="add del mod">
          <ac:chgData name="Petro Petrashko (UA)" userId="5b2b3b98-3131-48c7-bb8a-19b196a36949" providerId="ADAL" clId="{351FE23D-61E3-4217-9757-ECF8C23312BF}" dt="2024-06-26T14:22:35.810" v="1075" actId="165"/>
          <ac:grpSpMkLst>
            <pc:docMk/>
            <pc:sldMk cId="1613844391" sldId="2147481992"/>
            <ac:grpSpMk id="21" creationId="{B5B684D4-53AE-4313-1A56-773A1DF44CF6}"/>
          </ac:grpSpMkLst>
        </pc:grpChg>
        <pc:grpChg chg="add del mod">
          <ac:chgData name="Petro Petrashko (UA)" userId="5b2b3b98-3131-48c7-bb8a-19b196a36949" providerId="ADAL" clId="{351FE23D-61E3-4217-9757-ECF8C23312BF}" dt="2024-06-26T14:22:35.810" v="1075" actId="165"/>
          <ac:grpSpMkLst>
            <pc:docMk/>
            <pc:sldMk cId="1613844391" sldId="2147481992"/>
            <ac:grpSpMk id="23" creationId="{F82398F2-F141-A03D-06AD-027CF7108A1A}"/>
          </ac:grpSpMkLst>
        </pc:grpChg>
        <pc:grpChg chg="add mod ord">
          <ac:chgData name="Petro Petrashko (UA)" userId="5b2b3b98-3131-48c7-bb8a-19b196a36949" providerId="ADAL" clId="{351FE23D-61E3-4217-9757-ECF8C23312BF}" dt="2024-06-26T14:32:57.947" v="1193"/>
          <ac:grpSpMkLst>
            <pc:docMk/>
            <pc:sldMk cId="1613844391" sldId="2147481992"/>
            <ac:grpSpMk id="26" creationId="{C8DC9E60-F11C-EA4B-558F-ED00903892E2}"/>
          </ac:grpSpMkLst>
        </pc:grpChg>
        <pc:grpChg chg="add mod ord">
          <ac:chgData name="Petro Petrashko (UA)" userId="5b2b3b98-3131-48c7-bb8a-19b196a36949" providerId="ADAL" clId="{351FE23D-61E3-4217-9757-ECF8C23312BF}" dt="2024-06-26T14:32:57.943" v="1191"/>
          <ac:grpSpMkLst>
            <pc:docMk/>
            <pc:sldMk cId="1613844391" sldId="2147481992"/>
            <ac:grpSpMk id="27" creationId="{68C236D8-4394-A551-F3CC-2D3105E22996}"/>
          </ac:grpSpMkLst>
        </pc:grpChg>
        <pc:grpChg chg="add mod ord">
          <ac:chgData name="Petro Petrashko (UA)" userId="5b2b3b98-3131-48c7-bb8a-19b196a36949" providerId="ADAL" clId="{351FE23D-61E3-4217-9757-ECF8C23312BF}" dt="2024-06-26T14:32:57.939" v="1189"/>
          <ac:grpSpMkLst>
            <pc:docMk/>
            <pc:sldMk cId="1613844391" sldId="2147481992"/>
            <ac:grpSpMk id="28" creationId="{BA6CD622-55A7-F1C5-610C-AD5D7AFA0841}"/>
          </ac:grpSpMkLst>
        </pc:grpChg>
        <pc:grpChg chg="del">
          <ac:chgData name="Petro Petrashko (UA)" userId="5b2b3b98-3131-48c7-bb8a-19b196a36949" providerId="ADAL" clId="{351FE23D-61E3-4217-9757-ECF8C23312BF}" dt="2024-06-26T11:57:00.841" v="102" actId="165"/>
          <ac:grpSpMkLst>
            <pc:docMk/>
            <pc:sldMk cId="1613844391" sldId="2147481992"/>
            <ac:grpSpMk id="49" creationId="{A482D425-5B0B-9A2F-02C7-08E27F5BFFFB}"/>
          </ac:grpSpMkLst>
        </pc:grpChg>
        <pc:grpChg chg="add del mod">
          <ac:chgData name="Petro Petrashko (UA)" userId="5b2b3b98-3131-48c7-bb8a-19b196a36949" providerId="ADAL" clId="{351FE23D-61E3-4217-9757-ECF8C23312BF}" dt="2024-06-26T11:56:52.652" v="67" actId="165"/>
          <ac:grpSpMkLst>
            <pc:docMk/>
            <pc:sldMk cId="1613844391" sldId="2147481992"/>
            <ac:grpSpMk id="64" creationId="{2E1FDDFA-802C-6C96-9594-E51519BE0D81}"/>
          </ac:grpSpMkLst>
        </pc:grpChg>
        <pc:grpChg chg="add del mod">
          <ac:chgData name="Petro Petrashko (UA)" userId="5b2b3b98-3131-48c7-bb8a-19b196a36949" providerId="ADAL" clId="{351FE23D-61E3-4217-9757-ECF8C23312BF}" dt="2024-06-26T11:56:52.652" v="67" actId="165"/>
          <ac:grpSpMkLst>
            <pc:docMk/>
            <pc:sldMk cId="1613844391" sldId="2147481992"/>
            <ac:grpSpMk id="65" creationId="{1143C589-2584-5B0A-CD84-5EE2A1C2FEFA}"/>
          </ac:grpSpMkLst>
        </pc:grpChg>
        <pc:grpChg chg="add del mod">
          <ac:chgData name="Petro Petrashko (UA)" userId="5b2b3b98-3131-48c7-bb8a-19b196a36949" providerId="ADAL" clId="{351FE23D-61E3-4217-9757-ECF8C23312BF}" dt="2024-06-26T11:56:52.652" v="67" actId="165"/>
          <ac:grpSpMkLst>
            <pc:docMk/>
            <pc:sldMk cId="1613844391" sldId="2147481992"/>
            <ac:grpSpMk id="66" creationId="{F3FBFA82-C076-4395-C7C9-873FD9BAFA64}"/>
          </ac:grpSpMkLst>
        </pc:grpChg>
        <pc:grpChg chg="add del mod">
          <ac:chgData name="Petro Petrashko (UA)" userId="5b2b3b98-3131-48c7-bb8a-19b196a36949" providerId="ADAL" clId="{351FE23D-61E3-4217-9757-ECF8C23312BF}" dt="2024-06-26T14:13:56.287" v="1015" actId="165"/>
          <ac:grpSpMkLst>
            <pc:docMk/>
            <pc:sldMk cId="1613844391" sldId="2147481992"/>
            <ac:grpSpMk id="68" creationId="{849A9751-B847-0989-693A-9E09CA7AD8E9}"/>
          </ac:grpSpMkLst>
        </pc:grpChg>
        <pc:grpChg chg="add del mod">
          <ac:chgData name="Petro Petrashko (UA)" userId="5b2b3b98-3131-48c7-bb8a-19b196a36949" providerId="ADAL" clId="{351FE23D-61E3-4217-9757-ECF8C23312BF}" dt="2024-06-26T14:13:56.287" v="1015" actId="165"/>
          <ac:grpSpMkLst>
            <pc:docMk/>
            <pc:sldMk cId="1613844391" sldId="2147481992"/>
            <ac:grpSpMk id="69" creationId="{BADBE707-DD3C-17B5-1354-D00A8D9A290B}"/>
          </ac:grpSpMkLst>
        </pc:grpChg>
        <pc:grpChg chg="add del mod">
          <ac:chgData name="Petro Petrashko (UA)" userId="5b2b3b98-3131-48c7-bb8a-19b196a36949" providerId="ADAL" clId="{351FE23D-61E3-4217-9757-ECF8C23312BF}" dt="2024-06-26T14:13:56.287" v="1015" actId="165"/>
          <ac:grpSpMkLst>
            <pc:docMk/>
            <pc:sldMk cId="1613844391" sldId="2147481992"/>
            <ac:grpSpMk id="70" creationId="{8575B7E4-930F-EDF1-C430-8333E5926C21}"/>
          </ac:grpSpMkLst>
        </pc:grpChg>
        <pc:graphicFrameChg chg="mod">
          <ac:chgData name="Petro Petrashko (UA)" userId="5b2b3b98-3131-48c7-bb8a-19b196a36949" providerId="ADAL" clId="{351FE23D-61E3-4217-9757-ECF8C23312BF}" dt="2024-06-26T14:32:57.989" v="1209"/>
          <ac:graphicFrameMkLst>
            <pc:docMk/>
            <pc:sldMk cId="1613844391" sldId="2147481992"/>
            <ac:graphicFrameMk id="91" creationId="{7AE41A81-5DA9-3D29-3038-84D54EDD521C}"/>
          </ac:graphicFrameMkLst>
        </pc:graphicFrameChg>
        <pc:picChg chg="add del mod modCrop">
          <ac:chgData name="Petro Petrashko (UA)" userId="5b2b3b98-3131-48c7-bb8a-19b196a36949" providerId="ADAL" clId="{351FE23D-61E3-4217-9757-ECF8C23312BF}" dt="2024-06-26T14:22:30.485" v="1074" actId="478"/>
          <ac:picMkLst>
            <pc:docMk/>
            <pc:sldMk cId="1613844391" sldId="2147481992"/>
            <ac:picMk id="25" creationId="{4EF57C5C-3F5C-7360-0510-3BFB9B62C815}"/>
          </ac:picMkLst>
        </pc:picChg>
        <pc:picChg chg="add del mod">
          <ac:chgData name="Petro Petrashko (UA)" userId="5b2b3b98-3131-48c7-bb8a-19b196a36949" providerId="ADAL" clId="{351FE23D-61E3-4217-9757-ECF8C23312BF}" dt="2024-06-26T14:24:26.522" v="1090" actId="478"/>
          <ac:picMkLst>
            <pc:docMk/>
            <pc:sldMk cId="1613844391" sldId="2147481992"/>
            <ac:picMk id="36" creationId="{132B200A-D7E3-B901-C7BD-44074DC7A4E1}"/>
          </ac:picMkLst>
        </pc:picChg>
        <pc:picChg chg="add mod ord modCrop">
          <ac:chgData name="Petro Petrashko (UA)" userId="5b2b3b98-3131-48c7-bb8a-19b196a36949" providerId="ADAL" clId="{351FE23D-61E3-4217-9757-ECF8C23312BF}" dt="2024-06-26T14:34:17.521" v="1214" actId="554"/>
          <ac:picMkLst>
            <pc:docMk/>
            <pc:sldMk cId="1613844391" sldId="2147481992"/>
            <ac:picMk id="40" creationId="{2D2E3D23-4999-3A28-DA9B-1944F1556C97}"/>
          </ac:picMkLst>
        </pc:picChg>
        <pc:picChg chg="add del mod">
          <ac:chgData name="Petro Petrashko (UA)" userId="5b2b3b98-3131-48c7-bb8a-19b196a36949" providerId="ADAL" clId="{351FE23D-61E3-4217-9757-ECF8C23312BF}" dt="2024-06-26T14:26:23.027" v="1101" actId="478"/>
          <ac:picMkLst>
            <pc:docMk/>
            <pc:sldMk cId="1613844391" sldId="2147481992"/>
            <ac:picMk id="42" creationId="{C87F265B-C93E-757B-1BAD-0041E74BE729}"/>
          </ac:picMkLst>
        </pc:picChg>
        <pc:picChg chg="add del mod">
          <ac:chgData name="Petro Petrashko (UA)" userId="5b2b3b98-3131-48c7-bb8a-19b196a36949" providerId="ADAL" clId="{351FE23D-61E3-4217-9757-ECF8C23312BF}" dt="2024-06-26T14:27:20.840" v="1110" actId="478"/>
          <ac:picMkLst>
            <pc:docMk/>
            <pc:sldMk cId="1613844391" sldId="2147481992"/>
            <ac:picMk id="45" creationId="{780C6B00-71DC-7F3F-0ABC-BE7090AC8EC3}"/>
          </ac:picMkLst>
        </pc:picChg>
        <pc:picChg chg="add del mod">
          <ac:chgData name="Petro Petrashko (UA)" userId="5b2b3b98-3131-48c7-bb8a-19b196a36949" providerId="ADAL" clId="{351FE23D-61E3-4217-9757-ECF8C23312BF}" dt="2024-06-26T14:27:14.058" v="1108" actId="478"/>
          <ac:picMkLst>
            <pc:docMk/>
            <pc:sldMk cId="1613844391" sldId="2147481992"/>
            <ac:picMk id="47" creationId="{4943E705-04AD-DB31-9445-072AF72EC3E0}"/>
          </ac:picMkLst>
        </pc:picChg>
        <pc:cxnChg chg="mod ord">
          <ac:chgData name="Petro Petrashko (UA)" userId="5b2b3b98-3131-48c7-bb8a-19b196a36949" providerId="ADAL" clId="{351FE23D-61E3-4217-9757-ECF8C23312BF}" dt="2024-06-26T14:32:57.925" v="1183"/>
          <ac:cxnSpMkLst>
            <pc:docMk/>
            <pc:sldMk cId="1613844391" sldId="2147481992"/>
            <ac:cxnSpMk id="7" creationId="{85F8FCFE-E283-8D8B-37C4-0FA2ACA85E09}"/>
          </ac:cxnSpMkLst>
        </pc:cxnChg>
        <pc:cxnChg chg="mod ord">
          <ac:chgData name="Petro Petrashko (UA)" userId="5b2b3b98-3131-48c7-bb8a-19b196a36949" providerId="ADAL" clId="{351FE23D-61E3-4217-9757-ECF8C23312BF}" dt="2024-06-26T14:32:57.925" v="1185"/>
          <ac:cxnSpMkLst>
            <pc:docMk/>
            <pc:sldMk cId="1613844391" sldId="2147481992"/>
            <ac:cxnSpMk id="9" creationId="{9CFE0F3B-C5B0-7452-E45A-25AF31FE7AE2}"/>
          </ac:cxnSpMkLst>
        </pc:cxnChg>
        <pc:cxnChg chg="mod ord">
          <ac:chgData name="Petro Petrashko (UA)" userId="5b2b3b98-3131-48c7-bb8a-19b196a36949" providerId="ADAL" clId="{351FE23D-61E3-4217-9757-ECF8C23312BF}" dt="2024-06-26T14:32:57.925" v="1187"/>
          <ac:cxnSpMkLst>
            <pc:docMk/>
            <pc:sldMk cId="1613844391" sldId="2147481992"/>
            <ac:cxnSpMk id="34" creationId="{41D157D9-7468-894F-DEA9-2F7AE6B374B7}"/>
          </ac:cxnSpMkLst>
        </pc:cxnChg>
        <pc:cxnChg chg="mod ord">
          <ac:chgData name="Petro Petrashko (UA)" userId="5b2b3b98-3131-48c7-bb8a-19b196a36949" providerId="ADAL" clId="{351FE23D-61E3-4217-9757-ECF8C23312BF}" dt="2024-06-26T14:32:57.949" v="1195"/>
          <ac:cxnSpMkLst>
            <pc:docMk/>
            <pc:sldMk cId="1613844391" sldId="2147481992"/>
            <ac:cxnSpMk id="60" creationId="{0E670D97-BF54-ADE1-4392-6BCFF22D34BA}"/>
          </ac:cxnSpMkLst>
        </pc:cxnChg>
      </pc:sldChg>
      <pc:sldChg chg="addSp delSp modSp mod chgLayout">
        <pc:chgData name="Petro Petrashko (UA)" userId="5b2b3b98-3131-48c7-bb8a-19b196a36949" providerId="ADAL" clId="{351FE23D-61E3-4217-9757-ECF8C23312BF}" dt="2024-06-26T14:11:06.397" v="811"/>
        <pc:sldMkLst>
          <pc:docMk/>
          <pc:sldMk cId="1791248831" sldId="2147482012"/>
        </pc:sldMkLst>
        <pc:spChg chg="mod ord">
          <ac:chgData name="Petro Petrashko (UA)" userId="5b2b3b98-3131-48c7-bb8a-19b196a36949" providerId="ADAL" clId="{351FE23D-61E3-4217-9757-ECF8C23312BF}" dt="2024-06-26T14:11:06.353" v="782" actId="948"/>
          <ac:spMkLst>
            <pc:docMk/>
            <pc:sldMk cId="1791248831" sldId="2147482012"/>
            <ac:spMk id="2" creationId="{EC47296D-9568-ED7D-0457-80174E2BF2F8}"/>
          </ac:spMkLst>
        </pc:spChg>
        <pc:spChg chg="add del mod">
          <ac:chgData name="Petro Petrashko (UA)" userId="5b2b3b98-3131-48c7-bb8a-19b196a36949" providerId="ADAL" clId="{351FE23D-61E3-4217-9757-ECF8C23312BF}" dt="2024-06-26T13:59:32.060" v="218" actId="478"/>
          <ac:spMkLst>
            <pc:docMk/>
            <pc:sldMk cId="1791248831" sldId="2147482012"/>
            <ac:spMk id="3" creationId="{178D1B7A-F641-BB34-052C-1B432EDD60AC}"/>
          </ac:spMkLst>
        </pc:spChg>
        <pc:spChg chg="add del mod modVis">
          <ac:chgData name="Petro Petrashko (UA)" userId="5b2b3b98-3131-48c7-bb8a-19b196a36949" providerId="ADAL" clId="{351FE23D-61E3-4217-9757-ECF8C23312BF}" dt="2024-06-26T14:01:55.285" v="433"/>
          <ac:spMkLst>
            <pc:docMk/>
            <pc:sldMk cId="1791248831" sldId="2147482012"/>
            <ac:spMk id="5" creationId="{21847100-68FB-2D9E-1496-CBC36046075D}"/>
          </ac:spMkLst>
        </pc:spChg>
        <pc:spChg chg="add del mod">
          <ac:chgData name="Petro Petrashko (UA)" userId="5b2b3b98-3131-48c7-bb8a-19b196a36949" providerId="ADAL" clId="{351FE23D-61E3-4217-9757-ECF8C23312BF}" dt="2024-06-26T14:10:30.995" v="679" actId="6264"/>
          <ac:spMkLst>
            <pc:docMk/>
            <pc:sldMk cId="1791248831" sldId="2147482012"/>
            <ac:spMk id="7" creationId="{4267DC6E-AB0C-E0EE-4EFC-A5F97CE60FAA}"/>
          </ac:spMkLst>
        </pc:spChg>
        <pc:spChg chg="add del mod">
          <ac:chgData name="Petro Petrashko (UA)" userId="5b2b3b98-3131-48c7-bb8a-19b196a36949" providerId="ADAL" clId="{351FE23D-61E3-4217-9757-ECF8C23312BF}" dt="2024-06-26T14:10:30.995" v="679" actId="6264"/>
          <ac:spMkLst>
            <pc:docMk/>
            <pc:sldMk cId="1791248831" sldId="2147482012"/>
            <ac:spMk id="13" creationId="{F48275D7-6768-FCCA-C0AE-31F846BA48AA}"/>
          </ac:spMkLst>
        </pc:spChg>
        <pc:spChg chg="add del mod modVis">
          <ac:chgData name="Petro Petrashko (UA)" userId="5b2b3b98-3131-48c7-bb8a-19b196a36949" providerId="ADAL" clId="{351FE23D-61E3-4217-9757-ECF8C23312BF}" dt="2024-06-26T14:10:31.827" v="734" actId="962"/>
          <ac:spMkLst>
            <pc:docMk/>
            <pc:sldMk cId="1791248831" sldId="2147482012"/>
            <ac:spMk id="14" creationId="{CA8389E6-74CE-333C-2237-8488D3EA6E08}"/>
          </ac:spMkLst>
        </pc:spChg>
        <pc:spChg chg="add del mod modVis">
          <ac:chgData name="Petro Petrashko (UA)" userId="5b2b3b98-3131-48c7-bb8a-19b196a36949" providerId="ADAL" clId="{351FE23D-61E3-4217-9757-ECF8C23312BF}" dt="2024-06-26T14:10:54.845" v="773"/>
          <ac:spMkLst>
            <pc:docMk/>
            <pc:sldMk cId="1791248831" sldId="2147482012"/>
            <ac:spMk id="15" creationId="{994F32D7-F25D-A36F-A96D-25D3037E5333}"/>
          </ac:spMkLst>
        </pc:spChg>
        <pc:spChg chg="add del mod modVis">
          <ac:chgData name="Petro Petrashko (UA)" userId="5b2b3b98-3131-48c7-bb8a-19b196a36949" providerId="ADAL" clId="{351FE23D-61E3-4217-9757-ECF8C23312BF}" dt="2024-06-26T14:11:06.393" v="809"/>
          <ac:spMkLst>
            <pc:docMk/>
            <pc:sldMk cId="1791248831" sldId="2147482012"/>
            <ac:spMk id="16" creationId="{F2237C6F-665F-4065-62FD-52DB408F29D1}"/>
          </ac:spMkLst>
        </pc:spChg>
        <pc:spChg chg="mod">
          <ac:chgData name="Petro Petrashko (UA)" userId="5b2b3b98-3131-48c7-bb8a-19b196a36949" providerId="ADAL" clId="{351FE23D-61E3-4217-9757-ECF8C23312BF}" dt="2024-06-26T14:00:07.169" v="288" actId="164"/>
          <ac:spMkLst>
            <pc:docMk/>
            <pc:sldMk cId="1791248831" sldId="2147482012"/>
            <ac:spMk id="37" creationId="{7795EDCD-A1E3-81BC-D6E4-B8FD957AD217}"/>
          </ac:spMkLst>
        </pc:spChg>
        <pc:spChg chg="mod">
          <ac:chgData name="Petro Petrashko (UA)" userId="5b2b3b98-3131-48c7-bb8a-19b196a36949" providerId="ADAL" clId="{351FE23D-61E3-4217-9757-ECF8C23312BF}" dt="2024-06-26T14:00:07.169" v="288" actId="164"/>
          <ac:spMkLst>
            <pc:docMk/>
            <pc:sldMk cId="1791248831" sldId="2147482012"/>
            <ac:spMk id="38" creationId="{B7F4C205-C186-DA71-F54C-8E2254F0C2E9}"/>
          </ac:spMkLst>
        </pc:spChg>
        <pc:spChg chg="mod">
          <ac:chgData name="Petro Petrashko (UA)" userId="5b2b3b98-3131-48c7-bb8a-19b196a36949" providerId="ADAL" clId="{351FE23D-61E3-4217-9757-ECF8C23312BF}" dt="2024-06-26T14:01:54.661" v="405" actId="552"/>
          <ac:spMkLst>
            <pc:docMk/>
            <pc:sldMk cId="1791248831" sldId="2147482012"/>
            <ac:spMk id="68" creationId="{DC58C25F-8110-0C29-4A50-5DADA78B621C}"/>
          </ac:spMkLst>
        </pc:spChg>
        <pc:spChg chg="mod">
          <ac:chgData name="Petro Petrashko (UA)" userId="5b2b3b98-3131-48c7-bb8a-19b196a36949" providerId="ADAL" clId="{351FE23D-61E3-4217-9757-ECF8C23312BF}" dt="2024-06-26T14:00:07.169" v="288" actId="164"/>
          <ac:spMkLst>
            <pc:docMk/>
            <pc:sldMk cId="1791248831" sldId="2147482012"/>
            <ac:spMk id="78" creationId="{C5C3D0C6-9AE4-2D85-F716-35A1E082CF03}"/>
          </ac:spMkLst>
        </pc:spChg>
        <pc:spChg chg="mod">
          <ac:chgData name="Petro Petrashko (UA)" userId="5b2b3b98-3131-48c7-bb8a-19b196a36949" providerId="ADAL" clId="{351FE23D-61E3-4217-9757-ECF8C23312BF}" dt="2024-06-26T14:00:07.169" v="288" actId="164"/>
          <ac:spMkLst>
            <pc:docMk/>
            <pc:sldMk cId="1791248831" sldId="2147482012"/>
            <ac:spMk id="81" creationId="{194ED9A6-B5C3-ED3F-4C21-CA96CC3CE39E}"/>
          </ac:spMkLst>
        </pc:spChg>
        <pc:spChg chg="mod">
          <ac:chgData name="Petro Petrashko (UA)" userId="5b2b3b98-3131-48c7-bb8a-19b196a36949" providerId="ADAL" clId="{351FE23D-61E3-4217-9757-ECF8C23312BF}" dt="2024-06-26T14:00:07.169" v="288" actId="164"/>
          <ac:spMkLst>
            <pc:docMk/>
            <pc:sldMk cId="1791248831" sldId="2147482012"/>
            <ac:spMk id="82" creationId="{48434C7A-DD1B-41BC-9A26-100219A14BCB}"/>
          </ac:spMkLst>
        </pc:spChg>
        <pc:spChg chg="mod">
          <ac:chgData name="Petro Petrashko (UA)" userId="5b2b3b98-3131-48c7-bb8a-19b196a36949" providerId="ADAL" clId="{351FE23D-61E3-4217-9757-ECF8C23312BF}" dt="2024-06-26T14:00:07.169" v="288" actId="164"/>
          <ac:spMkLst>
            <pc:docMk/>
            <pc:sldMk cId="1791248831" sldId="2147482012"/>
            <ac:spMk id="85" creationId="{C814D90B-57A8-75C9-D698-489E6EE36C26}"/>
          </ac:spMkLst>
        </pc:spChg>
        <pc:spChg chg="mod">
          <ac:chgData name="Petro Petrashko (UA)" userId="5b2b3b98-3131-48c7-bb8a-19b196a36949" providerId="ADAL" clId="{351FE23D-61E3-4217-9757-ECF8C23312BF}" dt="2024-06-26T14:00:07.169" v="288" actId="164"/>
          <ac:spMkLst>
            <pc:docMk/>
            <pc:sldMk cId="1791248831" sldId="2147482012"/>
            <ac:spMk id="86" creationId="{9D762416-B8CD-9A4F-18FB-8F0F5E76000A}"/>
          </ac:spMkLst>
        </pc:spChg>
        <pc:spChg chg="mod">
          <ac:chgData name="Petro Petrashko (UA)" userId="5b2b3b98-3131-48c7-bb8a-19b196a36949" providerId="ADAL" clId="{351FE23D-61E3-4217-9757-ECF8C23312BF}" dt="2024-06-26T14:00:07.169" v="288" actId="164"/>
          <ac:spMkLst>
            <pc:docMk/>
            <pc:sldMk cId="1791248831" sldId="2147482012"/>
            <ac:spMk id="87" creationId="{8C6339FB-5EFB-D117-4D8C-E3D762D8DA58}"/>
          </ac:spMkLst>
        </pc:spChg>
        <pc:spChg chg="mod ord">
          <ac:chgData name="Petro Petrashko (UA)" userId="5b2b3b98-3131-48c7-bb8a-19b196a36949" providerId="ADAL" clId="{351FE23D-61E3-4217-9757-ECF8C23312BF}" dt="2024-06-26T14:10:30.995" v="679" actId="6264"/>
          <ac:spMkLst>
            <pc:docMk/>
            <pc:sldMk cId="1791248831" sldId="2147482012"/>
            <ac:spMk id="97" creationId="{8FF7DDF1-7E6A-F978-68B7-8269C3B570E1}"/>
          </ac:spMkLst>
        </pc:spChg>
        <pc:spChg chg="mod">
          <ac:chgData name="Petro Petrashko (UA)" userId="5b2b3b98-3131-48c7-bb8a-19b196a36949" providerId="ADAL" clId="{351FE23D-61E3-4217-9757-ECF8C23312BF}" dt="2024-06-26T14:00:07.169" v="288" actId="164"/>
          <ac:spMkLst>
            <pc:docMk/>
            <pc:sldMk cId="1791248831" sldId="2147482012"/>
            <ac:spMk id="101" creationId="{6EEB4BCC-C79A-22FA-6284-FF283E0F0395}"/>
          </ac:spMkLst>
        </pc:spChg>
        <pc:spChg chg="mod">
          <ac:chgData name="Petro Petrashko (UA)" userId="5b2b3b98-3131-48c7-bb8a-19b196a36949" providerId="ADAL" clId="{351FE23D-61E3-4217-9757-ECF8C23312BF}" dt="2024-06-26T14:00:07.169" v="288" actId="164"/>
          <ac:spMkLst>
            <pc:docMk/>
            <pc:sldMk cId="1791248831" sldId="2147482012"/>
            <ac:spMk id="102" creationId="{A2DB71BE-A99E-9EF8-8B88-2D025550C73F}"/>
          </ac:spMkLst>
        </pc:spChg>
        <pc:spChg chg="mod">
          <ac:chgData name="Petro Petrashko (UA)" userId="5b2b3b98-3131-48c7-bb8a-19b196a36949" providerId="ADAL" clId="{351FE23D-61E3-4217-9757-ECF8C23312BF}" dt="2024-06-26T14:00:07.169" v="288" actId="164"/>
          <ac:spMkLst>
            <pc:docMk/>
            <pc:sldMk cId="1791248831" sldId="2147482012"/>
            <ac:spMk id="103" creationId="{5DEC1747-94D0-C2FE-BE82-692FD20415CA}"/>
          </ac:spMkLst>
        </pc:spChg>
        <pc:spChg chg="mod">
          <ac:chgData name="Petro Petrashko (UA)" userId="5b2b3b98-3131-48c7-bb8a-19b196a36949" providerId="ADAL" clId="{351FE23D-61E3-4217-9757-ECF8C23312BF}" dt="2024-06-26T14:00:07.169" v="288" actId="164"/>
          <ac:spMkLst>
            <pc:docMk/>
            <pc:sldMk cId="1791248831" sldId="2147482012"/>
            <ac:spMk id="104" creationId="{D2925E93-E683-0A91-B81F-B1C979776110}"/>
          </ac:spMkLst>
        </pc:spChg>
        <pc:grpChg chg="add mod">
          <ac:chgData name="Petro Petrashko (UA)" userId="5b2b3b98-3131-48c7-bb8a-19b196a36949" providerId="ADAL" clId="{351FE23D-61E3-4217-9757-ECF8C23312BF}" dt="2024-06-26T14:00:07.169" v="288" actId="164"/>
          <ac:grpSpMkLst>
            <pc:docMk/>
            <pc:sldMk cId="1791248831" sldId="2147482012"/>
            <ac:grpSpMk id="4" creationId="{8373477E-7F9D-3DD8-78B7-5B69B6EA97A3}"/>
          </ac:grpSpMkLst>
        </pc:grpChg>
        <pc:grpChg chg="mod">
          <ac:chgData name="Petro Petrashko (UA)" userId="5b2b3b98-3131-48c7-bb8a-19b196a36949" providerId="ADAL" clId="{351FE23D-61E3-4217-9757-ECF8C23312BF}" dt="2024-06-26T14:11:05.837" v="781" actId="552"/>
          <ac:grpSpMkLst>
            <pc:docMk/>
            <pc:sldMk cId="1791248831" sldId="2147482012"/>
            <ac:grpSpMk id="124" creationId="{22B6A670-1167-6234-3E64-FBCDAC877C22}"/>
          </ac:grpSpMkLst>
        </pc:grpChg>
        <pc:grpChg chg="mod">
          <ac:chgData name="Petro Petrashko (UA)" userId="5b2b3b98-3131-48c7-bb8a-19b196a36949" providerId="ADAL" clId="{351FE23D-61E3-4217-9757-ECF8C23312BF}" dt="2024-06-26T14:11:05.837" v="781" actId="552"/>
          <ac:grpSpMkLst>
            <pc:docMk/>
            <pc:sldMk cId="1791248831" sldId="2147482012"/>
            <ac:grpSpMk id="125" creationId="{4387D8E0-B165-2634-3E99-8098AC5D0AAE}"/>
          </ac:grpSpMkLst>
        </pc:grpChg>
        <pc:grpChg chg="mod">
          <ac:chgData name="Petro Petrashko (UA)" userId="5b2b3b98-3131-48c7-bb8a-19b196a36949" providerId="ADAL" clId="{351FE23D-61E3-4217-9757-ECF8C23312BF}" dt="2024-06-26T14:11:05.837" v="781" actId="552"/>
          <ac:grpSpMkLst>
            <pc:docMk/>
            <pc:sldMk cId="1791248831" sldId="2147482012"/>
            <ac:grpSpMk id="126" creationId="{25B24E43-5F6C-2205-6F27-C9A8304F80E4}"/>
          </ac:grpSpMkLst>
        </pc:grpChg>
        <pc:grpChg chg="mod">
          <ac:chgData name="Petro Petrashko (UA)" userId="5b2b3b98-3131-48c7-bb8a-19b196a36949" providerId="ADAL" clId="{351FE23D-61E3-4217-9757-ECF8C23312BF}" dt="2024-06-26T14:11:05.837" v="781" actId="552"/>
          <ac:grpSpMkLst>
            <pc:docMk/>
            <pc:sldMk cId="1791248831" sldId="2147482012"/>
            <ac:grpSpMk id="127" creationId="{A9187C67-83D0-9053-644E-EA9705E689B3}"/>
          </ac:grpSpMkLst>
        </pc:grpChg>
        <pc:grpChg chg="mod">
          <ac:chgData name="Petro Petrashko (UA)" userId="5b2b3b98-3131-48c7-bb8a-19b196a36949" providerId="ADAL" clId="{351FE23D-61E3-4217-9757-ECF8C23312BF}" dt="2024-06-26T14:11:05.837" v="781" actId="552"/>
          <ac:grpSpMkLst>
            <pc:docMk/>
            <pc:sldMk cId="1791248831" sldId="2147482012"/>
            <ac:grpSpMk id="128" creationId="{7EA9234F-4081-9D78-360F-4BB6F2EDDCBE}"/>
          </ac:grpSpMkLst>
        </pc:grpChg>
        <pc:grpChg chg="mod">
          <ac:chgData name="Petro Petrashko (UA)" userId="5b2b3b98-3131-48c7-bb8a-19b196a36949" providerId="ADAL" clId="{351FE23D-61E3-4217-9757-ECF8C23312BF}" dt="2024-06-26T14:11:05.837" v="781" actId="552"/>
          <ac:grpSpMkLst>
            <pc:docMk/>
            <pc:sldMk cId="1791248831" sldId="2147482012"/>
            <ac:grpSpMk id="129" creationId="{3A1FB8DB-BEBA-9531-B60F-20C3F132CF2F}"/>
          </ac:grpSpMkLst>
        </pc:grpChg>
        <pc:graphicFrameChg chg="add mod ord modVis replST">
          <ac:chgData name="Petro Petrashko (UA)" userId="5b2b3b98-3131-48c7-bb8a-19b196a36949" providerId="ADAL" clId="{351FE23D-61E3-4217-9757-ECF8C23312BF}" dt="2024-06-26T14:11:06.397" v="811"/>
          <ac:graphicFrameMkLst>
            <pc:docMk/>
            <pc:sldMk cId="1791248831" sldId="2147482012"/>
            <ac:graphicFrameMk id="6" creationId="{8A8E461D-4824-21A5-8141-DE3D04012D10}"/>
          </ac:graphicFrameMkLst>
        </pc:graphicFrameChg>
      </pc:sldChg>
      <pc:sldChg chg="addSp delSp modSp mod">
        <pc:chgData name="Petro Petrashko (UA)" userId="5b2b3b98-3131-48c7-bb8a-19b196a36949" providerId="ADAL" clId="{351FE23D-61E3-4217-9757-ECF8C23312BF}" dt="2024-06-26T14:11:19.666" v="861" actId="165"/>
        <pc:sldMkLst>
          <pc:docMk/>
          <pc:sldMk cId="544519598" sldId="2147482017"/>
        </pc:sldMkLst>
        <pc:spChg chg="mod">
          <ac:chgData name="Petro Petrashko (UA)" userId="5b2b3b98-3131-48c7-bb8a-19b196a36949" providerId="ADAL" clId="{351FE23D-61E3-4217-9757-ECF8C23312BF}" dt="2024-06-26T14:11:18.590" v="818" actId="948"/>
          <ac:spMkLst>
            <pc:docMk/>
            <pc:sldMk cId="544519598" sldId="2147482017"/>
            <ac:spMk id="2" creationId="{EC47296D-9568-ED7D-0457-80174E2BF2F8}"/>
          </ac:spMkLst>
        </pc:spChg>
        <pc:spChg chg="mod topLvl">
          <ac:chgData name="Petro Petrashko (UA)" userId="5b2b3b98-3131-48c7-bb8a-19b196a36949" providerId="ADAL" clId="{351FE23D-61E3-4217-9757-ECF8C23312BF}" dt="2024-06-26T14:11:19.666" v="861" actId="165"/>
          <ac:spMkLst>
            <pc:docMk/>
            <pc:sldMk cId="544519598" sldId="2147482017"/>
            <ac:spMk id="6" creationId="{3680DECF-EC3E-375C-9E9E-1348C2762FB8}"/>
          </ac:spMkLst>
        </pc:spChg>
        <pc:spChg chg="mod topLvl">
          <ac:chgData name="Petro Petrashko (UA)" userId="5b2b3b98-3131-48c7-bb8a-19b196a36949" providerId="ADAL" clId="{351FE23D-61E3-4217-9757-ECF8C23312BF}" dt="2024-06-26T14:11:19.666" v="861" actId="165"/>
          <ac:spMkLst>
            <pc:docMk/>
            <pc:sldMk cId="544519598" sldId="2147482017"/>
            <ac:spMk id="7" creationId="{CC3C3FD8-EBFA-CAFD-4FCC-7724B90AD1E5}"/>
          </ac:spMkLst>
        </pc:spChg>
        <pc:spChg chg="mod">
          <ac:chgData name="Petro Petrashko (UA)" userId="5b2b3b98-3131-48c7-bb8a-19b196a36949" providerId="ADAL" clId="{351FE23D-61E3-4217-9757-ECF8C23312BF}" dt="2024-06-26T14:02:48.738" v="462"/>
          <ac:spMkLst>
            <pc:docMk/>
            <pc:sldMk cId="544519598" sldId="2147482017"/>
            <ac:spMk id="8" creationId="{534114EE-3D2C-604A-7E21-92B55CD26F09}"/>
          </ac:spMkLst>
        </pc:spChg>
        <pc:spChg chg="mod topLvl">
          <ac:chgData name="Petro Petrashko (UA)" userId="5b2b3b98-3131-48c7-bb8a-19b196a36949" providerId="ADAL" clId="{351FE23D-61E3-4217-9757-ECF8C23312BF}" dt="2024-06-26T14:11:19.666" v="861" actId="165"/>
          <ac:spMkLst>
            <pc:docMk/>
            <pc:sldMk cId="544519598" sldId="2147482017"/>
            <ac:spMk id="9" creationId="{9EBB1D1E-6449-913E-E858-C48CC79A35B7}"/>
          </ac:spMkLst>
        </pc:spChg>
        <pc:spChg chg="mod topLvl">
          <ac:chgData name="Petro Petrashko (UA)" userId="5b2b3b98-3131-48c7-bb8a-19b196a36949" providerId="ADAL" clId="{351FE23D-61E3-4217-9757-ECF8C23312BF}" dt="2024-06-26T14:11:19.666" v="861" actId="165"/>
          <ac:spMkLst>
            <pc:docMk/>
            <pc:sldMk cId="544519598" sldId="2147482017"/>
            <ac:spMk id="11" creationId="{2699A53A-B3BD-81F5-62B1-E1AFB84CBAF9}"/>
          </ac:spMkLst>
        </pc:spChg>
        <pc:spChg chg="mod topLvl">
          <ac:chgData name="Petro Petrashko (UA)" userId="5b2b3b98-3131-48c7-bb8a-19b196a36949" providerId="ADAL" clId="{351FE23D-61E3-4217-9757-ECF8C23312BF}" dt="2024-06-26T14:11:19.666" v="861" actId="165"/>
          <ac:spMkLst>
            <pc:docMk/>
            <pc:sldMk cId="544519598" sldId="2147482017"/>
            <ac:spMk id="12" creationId="{EEEC8714-4554-535F-5536-4371C6F9A1BA}"/>
          </ac:spMkLst>
        </pc:spChg>
        <pc:spChg chg="mod topLvl">
          <ac:chgData name="Petro Petrashko (UA)" userId="5b2b3b98-3131-48c7-bb8a-19b196a36949" providerId="ADAL" clId="{351FE23D-61E3-4217-9757-ECF8C23312BF}" dt="2024-06-26T14:11:19.666" v="861" actId="165"/>
          <ac:spMkLst>
            <pc:docMk/>
            <pc:sldMk cId="544519598" sldId="2147482017"/>
            <ac:spMk id="13" creationId="{3F193BB6-564F-7ED4-20BE-73BF54343CE7}"/>
          </ac:spMkLst>
        </pc:spChg>
        <pc:spChg chg="mod topLvl">
          <ac:chgData name="Petro Petrashko (UA)" userId="5b2b3b98-3131-48c7-bb8a-19b196a36949" providerId="ADAL" clId="{351FE23D-61E3-4217-9757-ECF8C23312BF}" dt="2024-06-26T14:04:36.212" v="500" actId="165"/>
          <ac:spMkLst>
            <pc:docMk/>
            <pc:sldMk cId="544519598" sldId="2147482017"/>
            <ac:spMk id="14" creationId="{4B888F26-7D1A-CA27-B5A8-6248A7263371}"/>
          </ac:spMkLst>
        </pc:spChg>
        <pc:spChg chg="mod topLvl">
          <ac:chgData name="Petro Petrashko (UA)" userId="5b2b3b98-3131-48c7-bb8a-19b196a36949" providerId="ADAL" clId="{351FE23D-61E3-4217-9757-ECF8C23312BF}" dt="2024-06-26T14:11:19.666" v="861" actId="165"/>
          <ac:spMkLst>
            <pc:docMk/>
            <pc:sldMk cId="544519598" sldId="2147482017"/>
            <ac:spMk id="15" creationId="{9E0E0D22-42F4-802B-FD44-EDC127F0142C}"/>
          </ac:spMkLst>
        </pc:spChg>
        <pc:spChg chg="mod topLvl">
          <ac:chgData name="Petro Petrashko (UA)" userId="5b2b3b98-3131-48c7-bb8a-19b196a36949" providerId="ADAL" clId="{351FE23D-61E3-4217-9757-ECF8C23312BF}" dt="2024-06-26T14:11:19.666" v="861" actId="165"/>
          <ac:spMkLst>
            <pc:docMk/>
            <pc:sldMk cId="544519598" sldId="2147482017"/>
            <ac:spMk id="16" creationId="{DE200739-7B25-E26F-EE8E-B08BBC35C608}"/>
          </ac:spMkLst>
        </pc:spChg>
        <pc:spChg chg="mod topLvl">
          <ac:chgData name="Petro Petrashko (UA)" userId="5b2b3b98-3131-48c7-bb8a-19b196a36949" providerId="ADAL" clId="{351FE23D-61E3-4217-9757-ECF8C23312BF}" dt="2024-06-26T14:04:36.212" v="500" actId="165"/>
          <ac:spMkLst>
            <pc:docMk/>
            <pc:sldMk cId="544519598" sldId="2147482017"/>
            <ac:spMk id="18" creationId="{257A3C35-39C9-A4E6-1837-31F170B2C97A}"/>
          </ac:spMkLst>
        </pc:spChg>
        <pc:spChg chg="mod topLvl">
          <ac:chgData name="Petro Petrashko (UA)" userId="5b2b3b98-3131-48c7-bb8a-19b196a36949" providerId="ADAL" clId="{351FE23D-61E3-4217-9757-ECF8C23312BF}" dt="2024-06-26T14:11:19.666" v="861" actId="165"/>
          <ac:spMkLst>
            <pc:docMk/>
            <pc:sldMk cId="544519598" sldId="2147482017"/>
            <ac:spMk id="19" creationId="{07531D68-F37F-8804-2790-05DE03E569AC}"/>
          </ac:spMkLst>
        </pc:spChg>
        <pc:spChg chg="mod topLvl">
          <ac:chgData name="Petro Petrashko (UA)" userId="5b2b3b98-3131-48c7-bb8a-19b196a36949" providerId="ADAL" clId="{351FE23D-61E3-4217-9757-ECF8C23312BF}" dt="2024-06-26T14:04:36.212" v="500" actId="165"/>
          <ac:spMkLst>
            <pc:docMk/>
            <pc:sldMk cId="544519598" sldId="2147482017"/>
            <ac:spMk id="22" creationId="{BDC99A0B-8AB3-4918-5B31-2F9C4926A28C}"/>
          </ac:spMkLst>
        </pc:spChg>
        <pc:spChg chg="mod topLvl">
          <ac:chgData name="Petro Petrashko (UA)" userId="5b2b3b98-3131-48c7-bb8a-19b196a36949" providerId="ADAL" clId="{351FE23D-61E3-4217-9757-ECF8C23312BF}" dt="2024-06-26T14:11:19.666" v="861" actId="165"/>
          <ac:spMkLst>
            <pc:docMk/>
            <pc:sldMk cId="544519598" sldId="2147482017"/>
            <ac:spMk id="23" creationId="{C79FE495-3705-FC56-C46F-7F38DBD9F9A7}"/>
          </ac:spMkLst>
        </pc:spChg>
        <pc:spChg chg="mod topLvl">
          <ac:chgData name="Petro Petrashko (UA)" userId="5b2b3b98-3131-48c7-bb8a-19b196a36949" providerId="ADAL" clId="{351FE23D-61E3-4217-9757-ECF8C23312BF}" dt="2024-06-26T14:04:36.212" v="500" actId="165"/>
          <ac:spMkLst>
            <pc:docMk/>
            <pc:sldMk cId="544519598" sldId="2147482017"/>
            <ac:spMk id="24" creationId="{09C2CCCC-B4A3-9533-7C1A-4E7B99F19AB0}"/>
          </ac:spMkLst>
        </pc:spChg>
        <pc:spChg chg="mod topLvl">
          <ac:chgData name="Petro Petrashko (UA)" userId="5b2b3b98-3131-48c7-bb8a-19b196a36949" providerId="ADAL" clId="{351FE23D-61E3-4217-9757-ECF8C23312BF}" dt="2024-06-26T14:11:19.666" v="861" actId="165"/>
          <ac:spMkLst>
            <pc:docMk/>
            <pc:sldMk cId="544519598" sldId="2147482017"/>
            <ac:spMk id="26" creationId="{F0CB5772-83FD-A70A-A885-67FCEEE49754}"/>
          </ac:spMkLst>
        </pc:spChg>
        <pc:spChg chg="mod topLvl">
          <ac:chgData name="Petro Petrashko (UA)" userId="5b2b3b98-3131-48c7-bb8a-19b196a36949" providerId="ADAL" clId="{351FE23D-61E3-4217-9757-ECF8C23312BF}" dt="2024-06-26T14:04:36.212" v="500" actId="165"/>
          <ac:spMkLst>
            <pc:docMk/>
            <pc:sldMk cId="544519598" sldId="2147482017"/>
            <ac:spMk id="32" creationId="{642FDFF0-C1EF-2DFC-03F4-C85494893547}"/>
          </ac:spMkLst>
        </pc:spChg>
        <pc:spChg chg="mod">
          <ac:chgData name="Petro Petrashko (UA)" userId="5b2b3b98-3131-48c7-bb8a-19b196a36949" providerId="ADAL" clId="{351FE23D-61E3-4217-9757-ECF8C23312BF}" dt="2024-06-26T14:02:48.738" v="462"/>
          <ac:spMkLst>
            <pc:docMk/>
            <pc:sldMk cId="544519598" sldId="2147482017"/>
            <ac:spMk id="33" creationId="{F057CCBB-6123-1B04-F379-10F38A6528F7}"/>
          </ac:spMkLst>
        </pc:spChg>
        <pc:spChg chg="mod topLvl">
          <ac:chgData name="Petro Petrashko (UA)" userId="5b2b3b98-3131-48c7-bb8a-19b196a36949" providerId="ADAL" clId="{351FE23D-61E3-4217-9757-ECF8C23312BF}" dt="2024-06-26T14:11:19.666" v="861" actId="165"/>
          <ac:spMkLst>
            <pc:docMk/>
            <pc:sldMk cId="544519598" sldId="2147482017"/>
            <ac:spMk id="34" creationId="{31E65DFA-47A0-4AD8-6B27-3C86CFB7284A}"/>
          </ac:spMkLst>
        </pc:spChg>
        <pc:spChg chg="mod topLvl">
          <ac:chgData name="Petro Petrashko (UA)" userId="5b2b3b98-3131-48c7-bb8a-19b196a36949" providerId="ADAL" clId="{351FE23D-61E3-4217-9757-ECF8C23312BF}" dt="2024-06-26T14:04:36.212" v="500" actId="165"/>
          <ac:spMkLst>
            <pc:docMk/>
            <pc:sldMk cId="544519598" sldId="2147482017"/>
            <ac:spMk id="35" creationId="{195A68F4-D954-A1C0-A647-42A436D9BC2B}"/>
          </ac:spMkLst>
        </pc:spChg>
        <pc:spChg chg="mod topLvl">
          <ac:chgData name="Petro Petrashko (UA)" userId="5b2b3b98-3131-48c7-bb8a-19b196a36949" providerId="ADAL" clId="{351FE23D-61E3-4217-9757-ECF8C23312BF}" dt="2024-06-26T14:04:36.212" v="500" actId="165"/>
          <ac:spMkLst>
            <pc:docMk/>
            <pc:sldMk cId="544519598" sldId="2147482017"/>
            <ac:spMk id="36" creationId="{3C145E88-345E-DEB9-9ABA-4CC30EEE55EB}"/>
          </ac:spMkLst>
        </pc:spChg>
        <pc:spChg chg="mod">
          <ac:chgData name="Petro Petrashko (UA)" userId="5b2b3b98-3131-48c7-bb8a-19b196a36949" providerId="ADAL" clId="{351FE23D-61E3-4217-9757-ECF8C23312BF}" dt="2024-06-26T14:04:31.256" v="498"/>
          <ac:spMkLst>
            <pc:docMk/>
            <pc:sldMk cId="544519598" sldId="2147482017"/>
            <ac:spMk id="46" creationId="{61055370-7332-D53E-18E8-184891B8C542}"/>
          </ac:spMkLst>
        </pc:spChg>
        <pc:spChg chg="mod topLvl">
          <ac:chgData name="Petro Petrashko (UA)" userId="5b2b3b98-3131-48c7-bb8a-19b196a36949" providerId="ADAL" clId="{351FE23D-61E3-4217-9757-ECF8C23312BF}" dt="2024-06-26T14:11:19.666" v="861" actId="165"/>
          <ac:spMkLst>
            <pc:docMk/>
            <pc:sldMk cId="544519598" sldId="2147482017"/>
            <ac:spMk id="47" creationId="{DE28A1F8-05E1-2D2E-5F4B-FFE030D33C0D}"/>
          </ac:spMkLst>
        </pc:spChg>
        <pc:spChg chg="mod">
          <ac:chgData name="Petro Petrashko (UA)" userId="5b2b3b98-3131-48c7-bb8a-19b196a36949" providerId="ADAL" clId="{351FE23D-61E3-4217-9757-ECF8C23312BF}" dt="2024-06-26T14:04:31.256" v="498"/>
          <ac:spMkLst>
            <pc:docMk/>
            <pc:sldMk cId="544519598" sldId="2147482017"/>
            <ac:spMk id="48" creationId="{4DB82225-AAA2-C992-BF5F-FD38AE5CA35A}"/>
          </ac:spMkLst>
        </pc:spChg>
        <pc:spChg chg="mod topLvl">
          <ac:chgData name="Petro Petrashko (UA)" userId="5b2b3b98-3131-48c7-bb8a-19b196a36949" providerId="ADAL" clId="{351FE23D-61E3-4217-9757-ECF8C23312BF}" dt="2024-06-26T14:11:19.666" v="861" actId="165"/>
          <ac:spMkLst>
            <pc:docMk/>
            <pc:sldMk cId="544519598" sldId="2147482017"/>
            <ac:spMk id="51" creationId="{459753F3-41F3-63B5-45E4-F3B58708C5B6}"/>
          </ac:spMkLst>
        </pc:spChg>
        <pc:spChg chg="add del mod modVis">
          <ac:chgData name="Petro Petrashko (UA)" userId="5b2b3b98-3131-48c7-bb8a-19b196a36949" providerId="ADAL" clId="{351FE23D-61E3-4217-9757-ECF8C23312BF}" dt="2024-06-26T14:11:18.631" v="845"/>
          <ac:spMkLst>
            <pc:docMk/>
            <pc:sldMk cId="544519598" sldId="2147482017"/>
            <ac:spMk id="53" creationId="{B184F35D-64B9-5686-CDD1-7485FA986907}"/>
          </ac:spMkLst>
        </pc:spChg>
        <pc:grpChg chg="add del mod">
          <ac:chgData name="Petro Petrashko (UA)" userId="5b2b3b98-3131-48c7-bb8a-19b196a36949" providerId="ADAL" clId="{351FE23D-61E3-4217-9757-ECF8C23312BF}" dt="2024-06-26T14:03:02.875" v="469" actId="478"/>
          <ac:grpSpMkLst>
            <pc:docMk/>
            <pc:sldMk cId="544519598" sldId="2147482017"/>
            <ac:grpSpMk id="5" creationId="{78C01A4C-F5A3-96A4-B5EC-C09033E22A1B}"/>
          </ac:grpSpMkLst>
        </pc:grpChg>
        <pc:grpChg chg="add del mod">
          <ac:chgData name="Petro Petrashko (UA)" userId="5b2b3b98-3131-48c7-bb8a-19b196a36949" providerId="ADAL" clId="{351FE23D-61E3-4217-9757-ECF8C23312BF}" dt="2024-06-26T14:04:36.212" v="500" actId="165"/>
          <ac:grpSpMkLst>
            <pc:docMk/>
            <pc:sldMk cId="544519598" sldId="2147482017"/>
            <ac:grpSpMk id="37" creationId="{154F5215-2571-C2FB-C0DC-8243C54024C7}"/>
          </ac:grpSpMkLst>
        </pc:grpChg>
        <pc:grpChg chg="add del mod">
          <ac:chgData name="Petro Petrashko (UA)" userId="5b2b3b98-3131-48c7-bb8a-19b196a36949" providerId="ADAL" clId="{351FE23D-61E3-4217-9757-ECF8C23312BF}" dt="2024-06-26T14:04:36.212" v="500" actId="165"/>
          <ac:grpSpMkLst>
            <pc:docMk/>
            <pc:sldMk cId="544519598" sldId="2147482017"/>
            <ac:grpSpMk id="38" creationId="{1B745B00-38BE-8383-4FA5-DAB27DC7B039}"/>
          </ac:grpSpMkLst>
        </pc:grpChg>
        <pc:grpChg chg="add del mod">
          <ac:chgData name="Petro Petrashko (UA)" userId="5b2b3b98-3131-48c7-bb8a-19b196a36949" providerId="ADAL" clId="{351FE23D-61E3-4217-9757-ECF8C23312BF}" dt="2024-06-26T14:04:36.212" v="500" actId="165"/>
          <ac:grpSpMkLst>
            <pc:docMk/>
            <pc:sldMk cId="544519598" sldId="2147482017"/>
            <ac:grpSpMk id="40" creationId="{86750420-FD6B-6604-7158-3DA2A0D1310F}"/>
          </ac:grpSpMkLst>
        </pc:grpChg>
        <pc:grpChg chg="add del mod">
          <ac:chgData name="Petro Petrashko (UA)" userId="5b2b3b98-3131-48c7-bb8a-19b196a36949" providerId="ADAL" clId="{351FE23D-61E3-4217-9757-ECF8C23312BF}" dt="2024-06-26T14:04:36.212" v="500" actId="165"/>
          <ac:grpSpMkLst>
            <pc:docMk/>
            <pc:sldMk cId="544519598" sldId="2147482017"/>
            <ac:grpSpMk id="41" creationId="{A0A18DDB-06B2-FD3B-7654-6646993DFC5F}"/>
          </ac:grpSpMkLst>
        </pc:grpChg>
        <pc:grpChg chg="add del mod">
          <ac:chgData name="Petro Petrashko (UA)" userId="5b2b3b98-3131-48c7-bb8a-19b196a36949" providerId="ADAL" clId="{351FE23D-61E3-4217-9757-ECF8C23312BF}" dt="2024-06-26T14:04:36.212" v="500" actId="165"/>
          <ac:grpSpMkLst>
            <pc:docMk/>
            <pc:sldMk cId="544519598" sldId="2147482017"/>
            <ac:grpSpMk id="42" creationId="{AA6700F2-EF98-01BC-3349-67C39770F9D0}"/>
          </ac:grpSpMkLst>
        </pc:grpChg>
        <pc:grpChg chg="add del mod">
          <ac:chgData name="Petro Petrashko (UA)" userId="5b2b3b98-3131-48c7-bb8a-19b196a36949" providerId="ADAL" clId="{351FE23D-61E3-4217-9757-ECF8C23312BF}" dt="2024-06-26T14:04:36.212" v="500" actId="165"/>
          <ac:grpSpMkLst>
            <pc:docMk/>
            <pc:sldMk cId="544519598" sldId="2147482017"/>
            <ac:grpSpMk id="43" creationId="{42F4AA32-BB25-E30C-4C36-D1BBD0F77954}"/>
          </ac:grpSpMkLst>
        </pc:grpChg>
        <pc:grpChg chg="add del mod">
          <ac:chgData name="Petro Petrashko (UA)" userId="5b2b3b98-3131-48c7-bb8a-19b196a36949" providerId="ADAL" clId="{351FE23D-61E3-4217-9757-ECF8C23312BF}" dt="2024-06-26T14:04:36.212" v="500" actId="165"/>
          <ac:grpSpMkLst>
            <pc:docMk/>
            <pc:sldMk cId="544519598" sldId="2147482017"/>
            <ac:grpSpMk id="44" creationId="{5A16C42F-0E43-7F35-9D02-1640F3A7E717}"/>
          </ac:grpSpMkLst>
        </pc:grpChg>
        <pc:grpChg chg="add del mod">
          <ac:chgData name="Petro Petrashko (UA)" userId="5b2b3b98-3131-48c7-bb8a-19b196a36949" providerId="ADAL" clId="{351FE23D-61E3-4217-9757-ECF8C23312BF}" dt="2024-06-26T14:04:44.708" v="504" actId="21"/>
          <ac:grpSpMkLst>
            <pc:docMk/>
            <pc:sldMk cId="544519598" sldId="2147482017"/>
            <ac:grpSpMk id="45" creationId="{1C38E46D-98EB-DC15-3A62-560B9D204538}"/>
          </ac:grpSpMkLst>
        </pc:grpChg>
        <pc:grpChg chg="add del mod">
          <ac:chgData name="Petro Petrashko (UA)" userId="5b2b3b98-3131-48c7-bb8a-19b196a36949" providerId="ADAL" clId="{351FE23D-61E3-4217-9757-ECF8C23312BF}" dt="2024-06-26T14:04:43.036" v="503" actId="165"/>
          <ac:grpSpMkLst>
            <pc:docMk/>
            <pc:sldMk cId="544519598" sldId="2147482017"/>
            <ac:grpSpMk id="49" creationId="{AEFF6AF8-BBA7-EB5E-F1DA-0904ADC6DFCB}"/>
          </ac:grpSpMkLst>
        </pc:grpChg>
        <pc:grpChg chg="add del mod">
          <ac:chgData name="Petro Petrashko (UA)" userId="5b2b3b98-3131-48c7-bb8a-19b196a36949" providerId="ADAL" clId="{351FE23D-61E3-4217-9757-ECF8C23312BF}" dt="2024-06-26T14:11:19.666" v="861" actId="165"/>
          <ac:grpSpMkLst>
            <pc:docMk/>
            <pc:sldMk cId="544519598" sldId="2147482017"/>
            <ac:grpSpMk id="52" creationId="{8C2B9093-7879-1559-C68A-823834691664}"/>
          </ac:grpSpMkLst>
        </pc:grpChg>
        <pc:graphicFrameChg chg="add mod ord modVis replST">
          <ac:chgData name="Petro Petrashko (UA)" userId="5b2b3b98-3131-48c7-bb8a-19b196a36949" providerId="ADAL" clId="{351FE23D-61E3-4217-9757-ECF8C23312BF}" dt="2024-06-26T14:11:18.677" v="860"/>
          <ac:graphicFrameMkLst>
            <pc:docMk/>
            <pc:sldMk cId="544519598" sldId="2147482017"/>
            <ac:graphicFrameMk id="54" creationId="{47D5D9C8-026E-DCC5-5397-BC77A3E61172}"/>
          </ac:graphicFrameMkLst>
        </pc:graphicFrameChg>
        <pc:cxnChg chg="mod">
          <ac:chgData name="Petro Petrashko (UA)" userId="5b2b3b98-3131-48c7-bb8a-19b196a36949" providerId="ADAL" clId="{351FE23D-61E3-4217-9757-ECF8C23312BF}" dt="2024-06-26T14:03:28.321" v="477" actId="465"/>
          <ac:cxnSpMkLst>
            <pc:docMk/>
            <pc:sldMk cId="544519598" sldId="2147482017"/>
            <ac:cxnSpMk id="4" creationId="{A34C0450-1485-CB4E-D4F8-1B9D567AB1FF}"/>
          </ac:cxnSpMkLst>
        </pc:cxnChg>
        <pc:cxnChg chg="mod">
          <ac:chgData name="Petro Petrashko (UA)" userId="5b2b3b98-3131-48c7-bb8a-19b196a36949" providerId="ADAL" clId="{351FE23D-61E3-4217-9757-ECF8C23312BF}" dt="2024-06-26T14:03:28.321" v="477" actId="465"/>
          <ac:cxnSpMkLst>
            <pc:docMk/>
            <pc:sldMk cId="544519598" sldId="2147482017"/>
            <ac:cxnSpMk id="17" creationId="{3613A840-4E6D-FAE5-4D8C-5E63294A7644}"/>
          </ac:cxnSpMkLst>
        </pc:cxnChg>
        <pc:cxnChg chg="mod">
          <ac:chgData name="Petro Petrashko (UA)" userId="5b2b3b98-3131-48c7-bb8a-19b196a36949" providerId="ADAL" clId="{351FE23D-61E3-4217-9757-ECF8C23312BF}" dt="2024-06-26T14:03:28.321" v="477" actId="465"/>
          <ac:cxnSpMkLst>
            <pc:docMk/>
            <pc:sldMk cId="544519598" sldId="2147482017"/>
            <ac:cxnSpMk id="21" creationId="{F3097C31-51F2-D5F8-7426-0A669C9D933B}"/>
          </ac:cxnSpMkLst>
        </pc:cxnChg>
        <pc:cxnChg chg="mod">
          <ac:chgData name="Petro Petrashko (UA)" userId="5b2b3b98-3131-48c7-bb8a-19b196a36949" providerId="ADAL" clId="{351FE23D-61E3-4217-9757-ECF8C23312BF}" dt="2024-06-26T14:03:28.321" v="477" actId="465"/>
          <ac:cxnSpMkLst>
            <pc:docMk/>
            <pc:sldMk cId="544519598" sldId="2147482017"/>
            <ac:cxnSpMk id="29" creationId="{4BBC05D7-CB5F-7B1D-9CC7-D35C7404EC4C}"/>
          </ac:cxnSpMkLst>
        </pc:cxnChg>
        <pc:cxnChg chg="mod">
          <ac:chgData name="Petro Petrashko (UA)" userId="5b2b3b98-3131-48c7-bb8a-19b196a36949" providerId="ADAL" clId="{351FE23D-61E3-4217-9757-ECF8C23312BF}" dt="2024-06-26T14:03:28.321" v="477" actId="465"/>
          <ac:cxnSpMkLst>
            <pc:docMk/>
            <pc:sldMk cId="544519598" sldId="2147482017"/>
            <ac:cxnSpMk id="30" creationId="{A9BDFD01-2873-88E2-665B-A15782C2DE16}"/>
          </ac:cxnSpMkLst>
        </pc:cxnChg>
        <pc:cxnChg chg="mod">
          <ac:chgData name="Petro Petrashko (UA)" userId="5b2b3b98-3131-48c7-bb8a-19b196a36949" providerId="ADAL" clId="{351FE23D-61E3-4217-9757-ECF8C23312BF}" dt="2024-06-26T14:03:28.321" v="477" actId="465"/>
          <ac:cxnSpMkLst>
            <pc:docMk/>
            <pc:sldMk cId="544519598" sldId="2147482017"/>
            <ac:cxnSpMk id="31" creationId="{A23283C8-AC46-8F65-599C-AE50F7F5ECCA}"/>
          </ac:cxnSpMkLst>
        </pc:cxnChg>
      </pc:sldChg>
      <pc:sldChg chg="addSp delSp modSp mod">
        <pc:chgData name="Petro Petrashko (UA)" userId="5b2b3b98-3131-48c7-bb8a-19b196a36949" providerId="ADAL" clId="{351FE23D-61E3-4217-9757-ECF8C23312BF}" dt="2024-06-26T14:11:25.291" v="907"/>
        <pc:sldMkLst>
          <pc:docMk/>
          <pc:sldMk cId="1401595425" sldId="2147482018"/>
        </pc:sldMkLst>
        <pc:spChg chg="mod">
          <ac:chgData name="Petro Petrashko (UA)" userId="5b2b3b98-3131-48c7-bb8a-19b196a36949" providerId="ADAL" clId="{351FE23D-61E3-4217-9757-ECF8C23312BF}" dt="2024-06-26T14:11:25.194" v="865" actId="948"/>
          <ac:spMkLst>
            <pc:docMk/>
            <pc:sldMk cId="1401595425" sldId="2147482018"/>
            <ac:spMk id="2" creationId="{EC47296D-9568-ED7D-0457-80174E2BF2F8}"/>
          </ac:spMkLst>
        </pc:spChg>
        <pc:spChg chg="mod">
          <ac:chgData name="Petro Petrashko (UA)" userId="5b2b3b98-3131-48c7-bb8a-19b196a36949" providerId="ADAL" clId="{351FE23D-61E3-4217-9757-ECF8C23312BF}" dt="2024-06-26T14:03:48.060" v="484"/>
          <ac:spMkLst>
            <pc:docMk/>
            <pc:sldMk cId="1401595425" sldId="2147482018"/>
            <ac:spMk id="4" creationId="{013772D2-E182-8DC8-0655-C5C90A195C8F}"/>
          </ac:spMkLst>
        </pc:spChg>
        <pc:spChg chg="mod">
          <ac:chgData name="Petro Petrashko (UA)" userId="5b2b3b98-3131-48c7-bb8a-19b196a36949" providerId="ADAL" clId="{351FE23D-61E3-4217-9757-ECF8C23312BF}" dt="2024-06-26T14:04:50.765" v="507" actId="165"/>
          <ac:spMkLst>
            <pc:docMk/>
            <pc:sldMk cId="1401595425" sldId="2147482018"/>
            <ac:spMk id="5" creationId="{9B01BFF2-7C6C-4A11-DDDF-DFEB1E669057}"/>
          </ac:spMkLst>
        </pc:spChg>
        <pc:spChg chg="mod">
          <ac:chgData name="Petro Petrashko (UA)" userId="5b2b3b98-3131-48c7-bb8a-19b196a36949" providerId="ADAL" clId="{351FE23D-61E3-4217-9757-ECF8C23312BF}" dt="2024-06-26T14:04:50.765" v="507" actId="165"/>
          <ac:spMkLst>
            <pc:docMk/>
            <pc:sldMk cId="1401595425" sldId="2147482018"/>
            <ac:spMk id="6" creationId="{5C78887E-1D81-C336-D2B1-A3180DF6D42B}"/>
          </ac:spMkLst>
        </pc:spChg>
        <pc:spChg chg="mod">
          <ac:chgData name="Petro Petrashko (UA)" userId="5b2b3b98-3131-48c7-bb8a-19b196a36949" providerId="ADAL" clId="{351FE23D-61E3-4217-9757-ECF8C23312BF}" dt="2024-06-26T14:04:50.765" v="507" actId="165"/>
          <ac:spMkLst>
            <pc:docMk/>
            <pc:sldMk cId="1401595425" sldId="2147482018"/>
            <ac:spMk id="7" creationId="{86FE1521-C46F-D8C5-EA1F-0B77C311CF77}"/>
          </ac:spMkLst>
        </pc:spChg>
        <pc:spChg chg="mod">
          <ac:chgData name="Petro Petrashko (UA)" userId="5b2b3b98-3131-48c7-bb8a-19b196a36949" providerId="ADAL" clId="{351FE23D-61E3-4217-9757-ECF8C23312BF}" dt="2024-06-26T14:03:48.060" v="484"/>
          <ac:spMkLst>
            <pc:docMk/>
            <pc:sldMk cId="1401595425" sldId="2147482018"/>
            <ac:spMk id="8" creationId="{530FB5C9-F5D9-0944-0DF9-52A752B63504}"/>
          </ac:spMkLst>
        </pc:spChg>
        <pc:spChg chg="mod">
          <ac:chgData name="Petro Petrashko (UA)" userId="5b2b3b98-3131-48c7-bb8a-19b196a36949" providerId="ADAL" clId="{351FE23D-61E3-4217-9757-ECF8C23312BF}" dt="2024-06-26T14:04:50.765" v="507" actId="165"/>
          <ac:spMkLst>
            <pc:docMk/>
            <pc:sldMk cId="1401595425" sldId="2147482018"/>
            <ac:spMk id="9" creationId="{2C33BD90-1F28-012B-9552-5BD45C0528F9}"/>
          </ac:spMkLst>
        </pc:spChg>
        <pc:spChg chg="mod topLvl">
          <ac:chgData name="Petro Petrashko (UA)" userId="5b2b3b98-3131-48c7-bb8a-19b196a36949" providerId="ADAL" clId="{351FE23D-61E3-4217-9757-ECF8C23312BF}" dt="2024-06-26T14:04:50.765" v="507" actId="165"/>
          <ac:spMkLst>
            <pc:docMk/>
            <pc:sldMk cId="1401595425" sldId="2147482018"/>
            <ac:spMk id="12" creationId="{6C159E5C-6825-65ED-B20E-2427062C845D}"/>
          </ac:spMkLst>
        </pc:spChg>
        <pc:spChg chg="mod">
          <ac:chgData name="Petro Petrashko (UA)" userId="5b2b3b98-3131-48c7-bb8a-19b196a36949" providerId="ADAL" clId="{351FE23D-61E3-4217-9757-ECF8C23312BF}" dt="2024-06-26T14:04:45.856" v="506"/>
          <ac:spMkLst>
            <pc:docMk/>
            <pc:sldMk cId="1401595425" sldId="2147482018"/>
            <ac:spMk id="26" creationId="{50757A12-7A4F-1ACE-A777-54F895507B66}"/>
          </ac:spMkLst>
        </pc:spChg>
        <pc:spChg chg="mod">
          <ac:chgData name="Petro Petrashko (UA)" userId="5b2b3b98-3131-48c7-bb8a-19b196a36949" providerId="ADAL" clId="{351FE23D-61E3-4217-9757-ECF8C23312BF}" dt="2024-06-26T14:04:45.856" v="506"/>
          <ac:spMkLst>
            <pc:docMk/>
            <pc:sldMk cId="1401595425" sldId="2147482018"/>
            <ac:spMk id="29" creationId="{977CD35C-D3A2-5299-4A12-E6E64A08B48C}"/>
          </ac:spMkLst>
        </pc:spChg>
        <pc:spChg chg="add del mod modVis">
          <ac:chgData name="Petro Petrashko (UA)" userId="5b2b3b98-3131-48c7-bb8a-19b196a36949" providerId="ADAL" clId="{351FE23D-61E3-4217-9757-ECF8C23312BF}" dt="2024-06-26T14:11:25.244" v="892"/>
          <ac:spMkLst>
            <pc:docMk/>
            <pc:sldMk cId="1401595425" sldId="2147482018"/>
            <ac:spMk id="30" creationId="{281AE235-8E3C-54E3-1177-094EFD376CDD}"/>
          </ac:spMkLst>
        </pc:spChg>
        <pc:spChg chg="mod topLvl">
          <ac:chgData name="Petro Petrashko (UA)" userId="5b2b3b98-3131-48c7-bb8a-19b196a36949" providerId="ADAL" clId="{351FE23D-61E3-4217-9757-ECF8C23312BF}" dt="2024-06-26T14:04:50.765" v="507" actId="165"/>
          <ac:spMkLst>
            <pc:docMk/>
            <pc:sldMk cId="1401595425" sldId="2147482018"/>
            <ac:spMk id="33" creationId="{A9EA678B-1C92-D1EC-5EF2-97D0A4907E68}"/>
          </ac:spMkLst>
        </pc:spChg>
        <pc:spChg chg="mod">
          <ac:chgData name="Petro Petrashko (UA)" userId="5b2b3b98-3131-48c7-bb8a-19b196a36949" providerId="ADAL" clId="{351FE23D-61E3-4217-9757-ECF8C23312BF}" dt="2024-06-26T14:04:50.765" v="507" actId="165"/>
          <ac:spMkLst>
            <pc:docMk/>
            <pc:sldMk cId="1401595425" sldId="2147482018"/>
            <ac:spMk id="39" creationId="{1827754A-E5C9-3C2B-2904-C6CA6ABA4D9D}"/>
          </ac:spMkLst>
        </pc:spChg>
        <pc:spChg chg="mod">
          <ac:chgData name="Petro Petrashko (UA)" userId="5b2b3b98-3131-48c7-bb8a-19b196a36949" providerId="ADAL" clId="{351FE23D-61E3-4217-9757-ECF8C23312BF}" dt="2024-06-26T14:04:50.765" v="507" actId="165"/>
          <ac:spMkLst>
            <pc:docMk/>
            <pc:sldMk cId="1401595425" sldId="2147482018"/>
            <ac:spMk id="41" creationId="{23DF718D-7257-2123-82CE-6D108C84E70D}"/>
          </ac:spMkLst>
        </pc:spChg>
        <pc:spChg chg="mod">
          <ac:chgData name="Petro Petrashko (UA)" userId="5b2b3b98-3131-48c7-bb8a-19b196a36949" providerId="ADAL" clId="{351FE23D-61E3-4217-9757-ECF8C23312BF}" dt="2024-06-26T14:04:50.765" v="507" actId="165"/>
          <ac:spMkLst>
            <pc:docMk/>
            <pc:sldMk cId="1401595425" sldId="2147482018"/>
            <ac:spMk id="44" creationId="{B5C01C9D-FCFE-7C06-355F-B51DC9CE2BD7}"/>
          </ac:spMkLst>
        </pc:spChg>
        <pc:spChg chg="mod">
          <ac:chgData name="Petro Petrashko (UA)" userId="5b2b3b98-3131-48c7-bb8a-19b196a36949" providerId="ADAL" clId="{351FE23D-61E3-4217-9757-ECF8C23312BF}" dt="2024-06-26T14:04:50.765" v="507" actId="165"/>
          <ac:spMkLst>
            <pc:docMk/>
            <pc:sldMk cId="1401595425" sldId="2147482018"/>
            <ac:spMk id="45" creationId="{95F83EE7-077E-1143-291F-23EE821A1687}"/>
          </ac:spMkLst>
        </pc:spChg>
        <pc:spChg chg="mod">
          <ac:chgData name="Petro Petrashko (UA)" userId="5b2b3b98-3131-48c7-bb8a-19b196a36949" providerId="ADAL" clId="{351FE23D-61E3-4217-9757-ECF8C23312BF}" dt="2024-06-26T14:04:50.765" v="507" actId="165"/>
          <ac:spMkLst>
            <pc:docMk/>
            <pc:sldMk cId="1401595425" sldId="2147482018"/>
            <ac:spMk id="48" creationId="{718C1DA6-897D-1E84-C3B9-46D621F0912C}"/>
          </ac:spMkLst>
        </pc:spChg>
        <pc:spChg chg="mod">
          <ac:chgData name="Petro Petrashko (UA)" userId="5b2b3b98-3131-48c7-bb8a-19b196a36949" providerId="ADAL" clId="{351FE23D-61E3-4217-9757-ECF8C23312BF}" dt="2024-06-26T14:04:50.765" v="507" actId="165"/>
          <ac:spMkLst>
            <pc:docMk/>
            <pc:sldMk cId="1401595425" sldId="2147482018"/>
            <ac:spMk id="49" creationId="{EB8CA6BE-7B8C-6996-F7C4-29CB41CDD342}"/>
          </ac:spMkLst>
        </pc:spChg>
        <pc:spChg chg="mod">
          <ac:chgData name="Petro Petrashko (UA)" userId="5b2b3b98-3131-48c7-bb8a-19b196a36949" providerId="ADAL" clId="{351FE23D-61E3-4217-9757-ECF8C23312BF}" dt="2024-06-26T14:04:50.765" v="507" actId="165"/>
          <ac:spMkLst>
            <pc:docMk/>
            <pc:sldMk cId="1401595425" sldId="2147482018"/>
            <ac:spMk id="55" creationId="{BBE22A93-5587-DA7B-29CF-65407AE35D02}"/>
          </ac:spMkLst>
        </pc:spChg>
        <pc:spChg chg="mod">
          <ac:chgData name="Petro Petrashko (UA)" userId="5b2b3b98-3131-48c7-bb8a-19b196a36949" providerId="ADAL" clId="{351FE23D-61E3-4217-9757-ECF8C23312BF}" dt="2024-06-26T14:04:50.765" v="507" actId="165"/>
          <ac:spMkLst>
            <pc:docMk/>
            <pc:sldMk cId="1401595425" sldId="2147482018"/>
            <ac:spMk id="56" creationId="{591B758D-F953-BC53-26C5-F859207AF361}"/>
          </ac:spMkLst>
        </pc:spChg>
        <pc:spChg chg="mod topLvl">
          <ac:chgData name="Petro Petrashko (UA)" userId="5b2b3b98-3131-48c7-bb8a-19b196a36949" providerId="ADAL" clId="{351FE23D-61E3-4217-9757-ECF8C23312BF}" dt="2024-06-26T14:04:50.765" v="507" actId="165"/>
          <ac:spMkLst>
            <pc:docMk/>
            <pc:sldMk cId="1401595425" sldId="2147482018"/>
            <ac:spMk id="75" creationId="{AB24C0B9-0E0F-E3B2-1237-5CBEE719A1F1}"/>
          </ac:spMkLst>
        </pc:spChg>
        <pc:spChg chg="mod topLvl">
          <ac:chgData name="Petro Petrashko (UA)" userId="5b2b3b98-3131-48c7-bb8a-19b196a36949" providerId="ADAL" clId="{351FE23D-61E3-4217-9757-ECF8C23312BF}" dt="2024-06-26T14:04:50.765" v="507" actId="165"/>
          <ac:spMkLst>
            <pc:docMk/>
            <pc:sldMk cId="1401595425" sldId="2147482018"/>
            <ac:spMk id="76" creationId="{8793B610-11BB-3DD5-343E-D5A1842E54DF}"/>
          </ac:spMkLst>
        </pc:spChg>
        <pc:spChg chg="mod topLvl">
          <ac:chgData name="Petro Petrashko (UA)" userId="5b2b3b98-3131-48c7-bb8a-19b196a36949" providerId="ADAL" clId="{351FE23D-61E3-4217-9757-ECF8C23312BF}" dt="2024-06-26T14:04:50.765" v="507" actId="165"/>
          <ac:spMkLst>
            <pc:docMk/>
            <pc:sldMk cId="1401595425" sldId="2147482018"/>
            <ac:spMk id="77" creationId="{7507519A-1DE4-B47D-BFBC-5EC74A788B23}"/>
          </ac:spMkLst>
        </pc:spChg>
        <pc:spChg chg="mod topLvl">
          <ac:chgData name="Petro Petrashko (UA)" userId="5b2b3b98-3131-48c7-bb8a-19b196a36949" providerId="ADAL" clId="{351FE23D-61E3-4217-9757-ECF8C23312BF}" dt="2024-06-26T14:04:50.765" v="507" actId="165"/>
          <ac:spMkLst>
            <pc:docMk/>
            <pc:sldMk cId="1401595425" sldId="2147482018"/>
            <ac:spMk id="99" creationId="{805B5EBD-6AAC-3E2E-7379-47BAFD8ABB47}"/>
          </ac:spMkLst>
        </pc:spChg>
        <pc:grpChg chg="add del mod">
          <ac:chgData name="Petro Petrashko (UA)" userId="5b2b3b98-3131-48c7-bb8a-19b196a36949" providerId="ADAL" clId="{351FE23D-61E3-4217-9757-ECF8C23312BF}" dt="2024-06-26T14:04:00.340" v="489" actId="478"/>
          <ac:grpSpMkLst>
            <pc:docMk/>
            <pc:sldMk cId="1401595425" sldId="2147482018"/>
            <ac:grpSpMk id="3" creationId="{2AEEB2F2-A306-66FA-33C9-5FE912F92909}"/>
          </ac:grpSpMkLst>
        </pc:grpChg>
        <pc:grpChg chg="add del mod">
          <ac:chgData name="Petro Petrashko (UA)" userId="5b2b3b98-3131-48c7-bb8a-19b196a36949" providerId="ADAL" clId="{351FE23D-61E3-4217-9757-ECF8C23312BF}" dt="2024-06-26T14:04:50.765" v="507" actId="165"/>
          <ac:grpSpMkLst>
            <pc:docMk/>
            <pc:sldMk cId="1401595425" sldId="2147482018"/>
            <ac:grpSpMk id="10" creationId="{470FFAF8-01F7-D16C-074E-BEADD0A81935}"/>
          </ac:grpSpMkLst>
        </pc:grpChg>
        <pc:grpChg chg="add del mod">
          <ac:chgData name="Petro Petrashko (UA)" userId="5b2b3b98-3131-48c7-bb8a-19b196a36949" providerId="ADAL" clId="{351FE23D-61E3-4217-9757-ECF8C23312BF}" dt="2024-06-26T14:04:50.765" v="507" actId="165"/>
          <ac:grpSpMkLst>
            <pc:docMk/>
            <pc:sldMk cId="1401595425" sldId="2147482018"/>
            <ac:grpSpMk id="11" creationId="{368899EE-18C8-3783-430D-C1D471D616FA}"/>
          </ac:grpSpMkLst>
        </pc:grpChg>
        <pc:grpChg chg="add del mod">
          <ac:chgData name="Petro Petrashko (UA)" userId="5b2b3b98-3131-48c7-bb8a-19b196a36949" providerId="ADAL" clId="{351FE23D-61E3-4217-9757-ECF8C23312BF}" dt="2024-06-26T14:04:50.765" v="507" actId="165"/>
          <ac:grpSpMkLst>
            <pc:docMk/>
            <pc:sldMk cId="1401595425" sldId="2147482018"/>
            <ac:grpSpMk id="20" creationId="{28A13C01-F87B-C0F2-8AD9-C437F7E0ACF9}"/>
          </ac:grpSpMkLst>
        </pc:grpChg>
        <pc:grpChg chg="add del mod">
          <ac:chgData name="Petro Petrashko (UA)" userId="5b2b3b98-3131-48c7-bb8a-19b196a36949" providerId="ADAL" clId="{351FE23D-61E3-4217-9757-ECF8C23312BF}" dt="2024-06-26T14:04:50.765" v="507" actId="165"/>
          <ac:grpSpMkLst>
            <pc:docMk/>
            <pc:sldMk cId="1401595425" sldId="2147482018"/>
            <ac:grpSpMk id="21" creationId="{8072D514-A5AC-80D7-EDE2-AF8AA668EBA0}"/>
          </ac:grpSpMkLst>
        </pc:grpChg>
        <pc:grpChg chg="add del mod">
          <ac:chgData name="Petro Petrashko (UA)" userId="5b2b3b98-3131-48c7-bb8a-19b196a36949" providerId="ADAL" clId="{351FE23D-61E3-4217-9757-ECF8C23312BF}" dt="2024-06-26T14:04:50.765" v="507" actId="165"/>
          <ac:grpSpMkLst>
            <pc:docMk/>
            <pc:sldMk cId="1401595425" sldId="2147482018"/>
            <ac:grpSpMk id="22" creationId="{22CEC99B-2CB2-CA40-CBDB-588C34729DC7}"/>
          </ac:grpSpMkLst>
        </pc:grpChg>
        <pc:grpChg chg="add del mod">
          <ac:chgData name="Petro Petrashko (UA)" userId="5b2b3b98-3131-48c7-bb8a-19b196a36949" providerId="ADAL" clId="{351FE23D-61E3-4217-9757-ECF8C23312BF}" dt="2024-06-26T14:04:50.765" v="507" actId="165"/>
          <ac:grpSpMkLst>
            <pc:docMk/>
            <pc:sldMk cId="1401595425" sldId="2147482018"/>
            <ac:grpSpMk id="23" creationId="{21D0F457-206F-673B-795A-9DED00C668C2}"/>
          </ac:grpSpMkLst>
        </pc:grpChg>
        <pc:grpChg chg="add del mod">
          <ac:chgData name="Petro Petrashko (UA)" userId="5b2b3b98-3131-48c7-bb8a-19b196a36949" providerId="ADAL" clId="{351FE23D-61E3-4217-9757-ECF8C23312BF}" dt="2024-06-26T14:04:55.754" v="509" actId="478"/>
          <ac:grpSpMkLst>
            <pc:docMk/>
            <pc:sldMk cId="1401595425" sldId="2147482018"/>
            <ac:grpSpMk id="24" creationId="{F449F12B-0BDA-478C-C1AC-88EDC61C70F5}"/>
          </ac:grpSpMkLst>
        </pc:grpChg>
        <pc:grpChg chg="mod topLvl">
          <ac:chgData name="Petro Petrashko (UA)" userId="5b2b3b98-3131-48c7-bb8a-19b196a36949" providerId="ADAL" clId="{351FE23D-61E3-4217-9757-ECF8C23312BF}" dt="2024-06-26T14:11:24.562" v="864" actId="552"/>
          <ac:grpSpMkLst>
            <pc:docMk/>
            <pc:sldMk cId="1401595425" sldId="2147482018"/>
            <ac:grpSpMk id="42" creationId="{A4F4AFF7-D322-3750-1DFA-D9C100938F39}"/>
          </ac:grpSpMkLst>
        </pc:grpChg>
        <pc:grpChg chg="mod topLvl">
          <ac:chgData name="Petro Petrashko (UA)" userId="5b2b3b98-3131-48c7-bb8a-19b196a36949" providerId="ADAL" clId="{351FE23D-61E3-4217-9757-ECF8C23312BF}" dt="2024-06-26T14:11:24.562" v="864" actId="552"/>
          <ac:grpSpMkLst>
            <pc:docMk/>
            <pc:sldMk cId="1401595425" sldId="2147482018"/>
            <ac:grpSpMk id="43" creationId="{C1882662-BF50-0FC2-9D53-D9AD4D05B1BE}"/>
          </ac:grpSpMkLst>
        </pc:grpChg>
        <pc:grpChg chg="mod topLvl">
          <ac:chgData name="Petro Petrashko (UA)" userId="5b2b3b98-3131-48c7-bb8a-19b196a36949" providerId="ADAL" clId="{351FE23D-61E3-4217-9757-ECF8C23312BF}" dt="2024-06-26T14:11:24.562" v="864" actId="552"/>
          <ac:grpSpMkLst>
            <pc:docMk/>
            <pc:sldMk cId="1401595425" sldId="2147482018"/>
            <ac:grpSpMk id="46" creationId="{9D0D27D0-1D3C-D063-303A-78578DD5B482}"/>
          </ac:grpSpMkLst>
        </pc:grpChg>
        <pc:grpChg chg="mod topLvl">
          <ac:chgData name="Petro Petrashko (UA)" userId="5b2b3b98-3131-48c7-bb8a-19b196a36949" providerId="ADAL" clId="{351FE23D-61E3-4217-9757-ECF8C23312BF}" dt="2024-06-26T14:11:24.562" v="864" actId="552"/>
          <ac:grpSpMkLst>
            <pc:docMk/>
            <pc:sldMk cId="1401595425" sldId="2147482018"/>
            <ac:grpSpMk id="52" creationId="{65797E59-9420-4DCA-2BF0-7142E471B84C}"/>
          </ac:grpSpMkLst>
        </pc:grpChg>
        <pc:grpChg chg="mod topLvl">
          <ac:chgData name="Petro Petrashko (UA)" userId="5b2b3b98-3131-48c7-bb8a-19b196a36949" providerId="ADAL" clId="{351FE23D-61E3-4217-9757-ECF8C23312BF}" dt="2024-06-26T14:11:24.562" v="864" actId="552"/>
          <ac:grpSpMkLst>
            <pc:docMk/>
            <pc:sldMk cId="1401595425" sldId="2147482018"/>
            <ac:grpSpMk id="53" creationId="{53D841C3-FCA8-0E4C-CFCD-DE20CC7BAC2E}"/>
          </ac:grpSpMkLst>
        </pc:grpChg>
        <pc:grpChg chg="mod topLvl">
          <ac:chgData name="Petro Petrashko (UA)" userId="5b2b3b98-3131-48c7-bb8a-19b196a36949" providerId="ADAL" clId="{351FE23D-61E3-4217-9757-ECF8C23312BF}" dt="2024-06-26T14:11:24.562" v="864" actId="552"/>
          <ac:grpSpMkLst>
            <pc:docMk/>
            <pc:sldMk cId="1401595425" sldId="2147482018"/>
            <ac:grpSpMk id="54" creationId="{AEB34293-42F7-9DB0-592C-B0D02ABB0F4B}"/>
          </ac:grpSpMkLst>
        </pc:grpChg>
        <pc:graphicFrameChg chg="add mod ord modVis replST">
          <ac:chgData name="Petro Petrashko (UA)" userId="5b2b3b98-3131-48c7-bb8a-19b196a36949" providerId="ADAL" clId="{351FE23D-61E3-4217-9757-ECF8C23312BF}" dt="2024-06-26T14:11:25.291" v="907"/>
          <ac:graphicFrameMkLst>
            <pc:docMk/>
            <pc:sldMk cId="1401595425" sldId="2147482018"/>
            <ac:graphicFrameMk id="31" creationId="{0CCB6DD0-0A2D-D7E9-76EC-1E664B1AF0D4}"/>
          </ac:graphicFrameMkLst>
        </pc:graphicFrameChg>
        <pc:cxnChg chg="mod">
          <ac:chgData name="Petro Petrashko (UA)" userId="5b2b3b98-3131-48c7-bb8a-19b196a36949" providerId="ADAL" clId="{351FE23D-61E3-4217-9757-ECF8C23312BF}" dt="2024-06-26T14:04:14.092" v="495" actId="465"/>
          <ac:cxnSpMkLst>
            <pc:docMk/>
            <pc:sldMk cId="1401595425" sldId="2147482018"/>
            <ac:cxnSpMk id="13" creationId="{57E638E7-D0A4-5E2D-AACB-B8C40DD06519}"/>
          </ac:cxnSpMkLst>
        </pc:cxnChg>
        <pc:cxnChg chg="mod">
          <ac:chgData name="Petro Petrashko (UA)" userId="5b2b3b98-3131-48c7-bb8a-19b196a36949" providerId="ADAL" clId="{351FE23D-61E3-4217-9757-ECF8C23312BF}" dt="2024-06-26T14:04:14.092" v="495" actId="465"/>
          <ac:cxnSpMkLst>
            <pc:docMk/>
            <pc:sldMk cId="1401595425" sldId="2147482018"/>
            <ac:cxnSpMk id="16" creationId="{D5F3E7D7-11B3-9912-9E28-D800635741FC}"/>
          </ac:cxnSpMkLst>
        </pc:cxnChg>
        <pc:cxnChg chg="mod">
          <ac:chgData name="Petro Petrashko (UA)" userId="5b2b3b98-3131-48c7-bb8a-19b196a36949" providerId="ADAL" clId="{351FE23D-61E3-4217-9757-ECF8C23312BF}" dt="2024-06-26T14:04:14.092" v="495" actId="465"/>
          <ac:cxnSpMkLst>
            <pc:docMk/>
            <pc:sldMk cId="1401595425" sldId="2147482018"/>
            <ac:cxnSpMk id="25" creationId="{0B98F0A9-A0F5-94E3-A94F-1CD87810FB99}"/>
          </ac:cxnSpMkLst>
        </pc:cxnChg>
        <pc:cxnChg chg="mod">
          <ac:chgData name="Petro Petrashko (UA)" userId="5b2b3b98-3131-48c7-bb8a-19b196a36949" providerId="ADAL" clId="{351FE23D-61E3-4217-9757-ECF8C23312BF}" dt="2024-06-26T14:04:14.092" v="495" actId="465"/>
          <ac:cxnSpMkLst>
            <pc:docMk/>
            <pc:sldMk cId="1401595425" sldId="2147482018"/>
            <ac:cxnSpMk id="27" creationId="{5FE1F1BA-74EB-89F7-7A1C-E75D518CD996}"/>
          </ac:cxnSpMkLst>
        </pc:cxnChg>
        <pc:cxnChg chg="mod">
          <ac:chgData name="Petro Petrashko (UA)" userId="5b2b3b98-3131-48c7-bb8a-19b196a36949" providerId="ADAL" clId="{351FE23D-61E3-4217-9757-ECF8C23312BF}" dt="2024-06-26T14:04:14.092" v="495" actId="465"/>
          <ac:cxnSpMkLst>
            <pc:docMk/>
            <pc:sldMk cId="1401595425" sldId="2147482018"/>
            <ac:cxnSpMk id="28" creationId="{CA568E8B-8B6F-B25E-3CB3-5A3C3D31C90A}"/>
          </ac:cxnSpMkLst>
        </pc:cxnChg>
      </pc:sldChg>
      <pc:sldChg chg="addSp delSp modSp mod">
        <pc:chgData name="Petro Petrashko (UA)" userId="5b2b3b98-3131-48c7-bb8a-19b196a36949" providerId="ADAL" clId="{351FE23D-61E3-4217-9757-ECF8C23312BF}" dt="2024-06-26T14:11:31.924" v="954" actId="165"/>
        <pc:sldMkLst>
          <pc:docMk/>
          <pc:sldMk cId="2403530007" sldId="2147482019"/>
        </pc:sldMkLst>
        <pc:spChg chg="mod">
          <ac:chgData name="Petro Petrashko (UA)" userId="5b2b3b98-3131-48c7-bb8a-19b196a36949" providerId="ADAL" clId="{351FE23D-61E3-4217-9757-ECF8C23312BF}" dt="2024-06-26T14:11:31.476" v="911" actId="948"/>
          <ac:spMkLst>
            <pc:docMk/>
            <pc:sldMk cId="2403530007" sldId="2147482019"/>
            <ac:spMk id="2" creationId="{EC47296D-9568-ED7D-0457-80174E2BF2F8}"/>
          </ac:spMkLst>
        </pc:spChg>
        <pc:spChg chg="mod topLvl">
          <ac:chgData name="Petro Petrashko (UA)" userId="5b2b3b98-3131-48c7-bb8a-19b196a36949" providerId="ADAL" clId="{351FE23D-61E3-4217-9757-ECF8C23312BF}" dt="2024-06-26T14:11:31.924" v="954" actId="165"/>
          <ac:spMkLst>
            <pc:docMk/>
            <pc:sldMk cId="2403530007" sldId="2147482019"/>
            <ac:spMk id="5" creationId="{82C91F83-6981-8B2A-FA3C-1F2F3ADFB9FD}"/>
          </ac:spMkLst>
        </pc:spChg>
        <pc:spChg chg="mod">
          <ac:chgData name="Petro Petrashko (UA)" userId="5b2b3b98-3131-48c7-bb8a-19b196a36949" providerId="ADAL" clId="{351FE23D-61E3-4217-9757-ECF8C23312BF}" dt="2024-06-26T14:05:14.490" v="512"/>
          <ac:spMkLst>
            <pc:docMk/>
            <pc:sldMk cId="2403530007" sldId="2147482019"/>
            <ac:spMk id="6" creationId="{15F52D5A-63BE-2275-0153-4D6F9A593DEE}"/>
          </ac:spMkLst>
        </pc:spChg>
        <pc:spChg chg="mod">
          <ac:chgData name="Petro Petrashko (UA)" userId="5b2b3b98-3131-48c7-bb8a-19b196a36949" providerId="ADAL" clId="{351FE23D-61E3-4217-9757-ECF8C23312BF}" dt="2024-06-26T14:05:14.490" v="512"/>
          <ac:spMkLst>
            <pc:docMk/>
            <pc:sldMk cId="2403530007" sldId="2147482019"/>
            <ac:spMk id="8" creationId="{75BB688A-EB02-7F1E-476B-1DC570357AB7}"/>
          </ac:spMkLst>
        </pc:spChg>
        <pc:spChg chg="mod topLvl">
          <ac:chgData name="Petro Petrashko (UA)" userId="5b2b3b98-3131-48c7-bb8a-19b196a36949" providerId="ADAL" clId="{351FE23D-61E3-4217-9757-ECF8C23312BF}" dt="2024-06-26T14:11:31.924" v="954" actId="165"/>
          <ac:spMkLst>
            <pc:docMk/>
            <pc:sldMk cId="2403530007" sldId="2147482019"/>
            <ac:spMk id="9" creationId="{9EBB1D1E-6449-913E-E858-C48CC79A35B7}"/>
          </ac:spMkLst>
        </pc:spChg>
        <pc:spChg chg="mod topLvl">
          <ac:chgData name="Petro Petrashko (UA)" userId="5b2b3b98-3131-48c7-bb8a-19b196a36949" providerId="ADAL" clId="{351FE23D-61E3-4217-9757-ECF8C23312BF}" dt="2024-06-26T14:11:31.924" v="954" actId="165"/>
          <ac:spMkLst>
            <pc:docMk/>
            <pc:sldMk cId="2403530007" sldId="2147482019"/>
            <ac:spMk id="11" creationId="{2699A53A-B3BD-81F5-62B1-E1AFB84CBAF9}"/>
          </ac:spMkLst>
        </pc:spChg>
        <pc:spChg chg="mod topLvl">
          <ac:chgData name="Petro Petrashko (UA)" userId="5b2b3b98-3131-48c7-bb8a-19b196a36949" providerId="ADAL" clId="{351FE23D-61E3-4217-9757-ECF8C23312BF}" dt="2024-06-26T14:11:31.924" v="954" actId="165"/>
          <ac:spMkLst>
            <pc:docMk/>
            <pc:sldMk cId="2403530007" sldId="2147482019"/>
            <ac:spMk id="12" creationId="{EEEC8714-4554-535F-5536-4371C6F9A1BA}"/>
          </ac:spMkLst>
        </pc:spChg>
        <pc:spChg chg="mod topLvl">
          <ac:chgData name="Petro Petrashko (UA)" userId="5b2b3b98-3131-48c7-bb8a-19b196a36949" providerId="ADAL" clId="{351FE23D-61E3-4217-9757-ECF8C23312BF}" dt="2024-06-26T14:11:31.924" v="954" actId="165"/>
          <ac:spMkLst>
            <pc:docMk/>
            <pc:sldMk cId="2403530007" sldId="2147482019"/>
            <ac:spMk id="13" creationId="{3F193BB6-564F-7ED4-20BE-73BF54343CE7}"/>
          </ac:spMkLst>
        </pc:spChg>
        <pc:spChg chg="mod topLvl">
          <ac:chgData name="Petro Petrashko (UA)" userId="5b2b3b98-3131-48c7-bb8a-19b196a36949" providerId="ADAL" clId="{351FE23D-61E3-4217-9757-ECF8C23312BF}" dt="2024-06-26T14:11:31.924" v="954" actId="165"/>
          <ac:spMkLst>
            <pc:docMk/>
            <pc:sldMk cId="2403530007" sldId="2147482019"/>
            <ac:spMk id="15" creationId="{9E0E0D22-42F4-802B-FD44-EDC127F0142C}"/>
          </ac:spMkLst>
        </pc:spChg>
        <pc:spChg chg="mod topLvl">
          <ac:chgData name="Petro Petrashko (UA)" userId="5b2b3b98-3131-48c7-bb8a-19b196a36949" providerId="ADAL" clId="{351FE23D-61E3-4217-9757-ECF8C23312BF}" dt="2024-06-26T14:11:31.924" v="954" actId="165"/>
          <ac:spMkLst>
            <pc:docMk/>
            <pc:sldMk cId="2403530007" sldId="2147482019"/>
            <ac:spMk id="16" creationId="{DE200739-7B25-E26F-EE8E-B08BBC35C608}"/>
          </ac:spMkLst>
        </pc:spChg>
        <pc:spChg chg="mod topLvl">
          <ac:chgData name="Petro Petrashko (UA)" userId="5b2b3b98-3131-48c7-bb8a-19b196a36949" providerId="ADAL" clId="{351FE23D-61E3-4217-9757-ECF8C23312BF}" dt="2024-06-26T14:11:31.924" v="954" actId="165"/>
          <ac:spMkLst>
            <pc:docMk/>
            <pc:sldMk cId="2403530007" sldId="2147482019"/>
            <ac:spMk id="25" creationId="{73193CD6-27B5-A6F9-730A-EA354B870D72}"/>
          </ac:spMkLst>
        </pc:spChg>
        <pc:spChg chg="mod topLvl">
          <ac:chgData name="Petro Petrashko (UA)" userId="5b2b3b98-3131-48c7-bb8a-19b196a36949" providerId="ADAL" clId="{351FE23D-61E3-4217-9757-ECF8C23312BF}" dt="2024-06-26T14:11:31.924" v="954" actId="165"/>
          <ac:spMkLst>
            <pc:docMk/>
            <pc:sldMk cId="2403530007" sldId="2147482019"/>
            <ac:spMk id="26" creationId="{F0CB5772-83FD-A70A-A885-67FCEEE49754}"/>
          </ac:spMkLst>
        </pc:spChg>
        <pc:spChg chg="add del mod modVis">
          <ac:chgData name="Petro Petrashko (UA)" userId="5b2b3b98-3131-48c7-bb8a-19b196a36949" providerId="ADAL" clId="{351FE23D-61E3-4217-9757-ECF8C23312BF}" dt="2024-06-26T14:11:31.517" v="938"/>
          <ac:spMkLst>
            <pc:docMk/>
            <pc:sldMk cId="2403530007" sldId="2147482019"/>
            <ac:spMk id="28" creationId="{C0B871A1-0EFB-AB8C-41BC-72165E6C8F11}"/>
          </ac:spMkLst>
        </pc:spChg>
        <pc:spChg chg="mod topLvl">
          <ac:chgData name="Petro Petrashko (UA)" userId="5b2b3b98-3131-48c7-bb8a-19b196a36949" providerId="ADAL" clId="{351FE23D-61E3-4217-9757-ECF8C23312BF}" dt="2024-06-26T14:11:31.924" v="954" actId="165"/>
          <ac:spMkLst>
            <pc:docMk/>
            <pc:sldMk cId="2403530007" sldId="2147482019"/>
            <ac:spMk id="34" creationId="{31E65DFA-47A0-4AD8-6B27-3C86CFB7284A}"/>
          </ac:spMkLst>
        </pc:spChg>
        <pc:spChg chg="mod topLvl">
          <ac:chgData name="Petro Petrashko (UA)" userId="5b2b3b98-3131-48c7-bb8a-19b196a36949" providerId="ADAL" clId="{351FE23D-61E3-4217-9757-ECF8C23312BF}" dt="2024-06-26T14:11:31.924" v="954" actId="165"/>
          <ac:spMkLst>
            <pc:docMk/>
            <pc:sldMk cId="2403530007" sldId="2147482019"/>
            <ac:spMk id="47" creationId="{DE28A1F8-05E1-2D2E-5F4B-FFE030D33C0D}"/>
          </ac:spMkLst>
        </pc:spChg>
        <pc:spChg chg="mod topLvl">
          <ac:chgData name="Petro Petrashko (UA)" userId="5b2b3b98-3131-48c7-bb8a-19b196a36949" providerId="ADAL" clId="{351FE23D-61E3-4217-9757-ECF8C23312BF}" dt="2024-06-26T14:11:31.924" v="954" actId="165"/>
          <ac:spMkLst>
            <pc:docMk/>
            <pc:sldMk cId="2403530007" sldId="2147482019"/>
            <ac:spMk id="51" creationId="{459753F3-41F3-63B5-45E4-F3B58708C5B6}"/>
          </ac:spMkLst>
        </pc:spChg>
        <pc:grpChg chg="add del mod">
          <ac:chgData name="Petro Petrashko (UA)" userId="5b2b3b98-3131-48c7-bb8a-19b196a36949" providerId="ADAL" clId="{351FE23D-61E3-4217-9757-ECF8C23312BF}" dt="2024-06-26T14:05:24.759" v="515" actId="478"/>
          <ac:grpSpMkLst>
            <pc:docMk/>
            <pc:sldMk cId="2403530007" sldId="2147482019"/>
            <ac:grpSpMk id="3" creationId="{EBD3EEAE-F5E3-73ED-D6C1-4582B441739F}"/>
          </ac:grpSpMkLst>
        </pc:grpChg>
        <pc:grpChg chg="add del mod">
          <ac:chgData name="Petro Petrashko (UA)" userId="5b2b3b98-3131-48c7-bb8a-19b196a36949" providerId="ADAL" clId="{351FE23D-61E3-4217-9757-ECF8C23312BF}" dt="2024-06-26T14:11:31.924" v="954" actId="165"/>
          <ac:grpSpMkLst>
            <pc:docMk/>
            <pc:sldMk cId="2403530007" sldId="2147482019"/>
            <ac:grpSpMk id="10" creationId="{ED7B9491-4F4F-4901-D3BE-3CE4189612F5}"/>
          </ac:grpSpMkLst>
        </pc:grpChg>
        <pc:graphicFrameChg chg="add mod ord modVis replST">
          <ac:chgData name="Petro Petrashko (UA)" userId="5b2b3b98-3131-48c7-bb8a-19b196a36949" providerId="ADAL" clId="{351FE23D-61E3-4217-9757-ECF8C23312BF}" dt="2024-06-26T14:11:31.571" v="953"/>
          <ac:graphicFrameMkLst>
            <pc:docMk/>
            <pc:sldMk cId="2403530007" sldId="2147482019"/>
            <ac:graphicFrameMk id="29" creationId="{E9055983-5BDC-2790-0810-8F819DF26CD9}"/>
          </ac:graphicFrameMkLst>
        </pc:graphicFrameChg>
      </pc:sldChg>
      <pc:sldChg chg="modSp mod">
        <pc:chgData name="Petro Petrashko (UA)" userId="5b2b3b98-3131-48c7-bb8a-19b196a36949" providerId="ADAL" clId="{351FE23D-61E3-4217-9757-ECF8C23312BF}" dt="2024-06-26T12:01:04.915" v="166" actId="20577"/>
        <pc:sldMkLst>
          <pc:docMk/>
          <pc:sldMk cId="4066072075" sldId="2147482036"/>
        </pc:sldMkLst>
        <pc:spChg chg="mod">
          <ac:chgData name="Petro Petrashko (UA)" userId="5b2b3b98-3131-48c7-bb8a-19b196a36949" providerId="ADAL" clId="{351FE23D-61E3-4217-9757-ECF8C23312BF}" dt="2024-06-26T12:01:04.915" v="166" actId="20577"/>
          <ac:spMkLst>
            <pc:docMk/>
            <pc:sldMk cId="4066072075" sldId="2147482036"/>
            <ac:spMk id="77" creationId="{7507519A-1DE4-B47D-BFBC-5EC74A788B23}"/>
          </ac:spMkLst>
        </pc:spChg>
      </pc:sldChg>
      <pc:sldChg chg="addSp delSp modSp mod">
        <pc:chgData name="Petro Petrashko (UA)" userId="5b2b3b98-3131-48c7-bb8a-19b196a36949" providerId="ADAL" clId="{351FE23D-61E3-4217-9757-ECF8C23312BF}" dt="2024-06-26T12:00:29.298" v="153" actId="465"/>
        <pc:sldMkLst>
          <pc:docMk/>
          <pc:sldMk cId="397739886" sldId="2147482037"/>
        </pc:sldMkLst>
        <pc:spChg chg="mod topLvl">
          <ac:chgData name="Petro Petrashko (UA)" userId="5b2b3b98-3131-48c7-bb8a-19b196a36949" providerId="ADAL" clId="{351FE23D-61E3-4217-9757-ECF8C23312BF}" dt="2024-06-26T11:58:59.595" v="142" actId="20577"/>
          <ac:spMkLst>
            <pc:docMk/>
            <pc:sldMk cId="397739886" sldId="2147482037"/>
            <ac:spMk id="12" creationId="{879A926F-6658-DAA7-02B9-E966021CE708}"/>
          </ac:spMkLst>
        </pc:spChg>
        <pc:spChg chg="mod topLvl">
          <ac:chgData name="Petro Petrashko (UA)" userId="5b2b3b98-3131-48c7-bb8a-19b196a36949" providerId="ADAL" clId="{351FE23D-61E3-4217-9757-ECF8C23312BF}" dt="2024-06-26T11:58:44.714" v="137" actId="165"/>
          <ac:spMkLst>
            <pc:docMk/>
            <pc:sldMk cId="397739886" sldId="2147482037"/>
            <ac:spMk id="14" creationId="{38B7A15B-C497-C2BD-7DEB-F1C67E912EAA}"/>
          </ac:spMkLst>
        </pc:spChg>
        <pc:spChg chg="mod topLvl">
          <ac:chgData name="Petro Petrashko (UA)" userId="5b2b3b98-3131-48c7-bb8a-19b196a36949" providerId="ADAL" clId="{351FE23D-61E3-4217-9757-ECF8C23312BF}" dt="2024-06-26T11:58:44.714" v="137" actId="165"/>
          <ac:spMkLst>
            <pc:docMk/>
            <pc:sldMk cId="397739886" sldId="2147482037"/>
            <ac:spMk id="15" creationId="{04702416-3F0E-9E89-EF83-2F7826A13003}"/>
          </ac:spMkLst>
        </pc:spChg>
        <pc:spChg chg="mod">
          <ac:chgData name="Petro Petrashko (UA)" userId="5b2b3b98-3131-48c7-bb8a-19b196a36949" providerId="ADAL" clId="{351FE23D-61E3-4217-9757-ECF8C23312BF}" dt="2024-06-26T12:00:23.093" v="152" actId="164"/>
          <ac:spMkLst>
            <pc:docMk/>
            <pc:sldMk cId="397739886" sldId="2147482037"/>
            <ac:spMk id="26" creationId="{65F98EEB-1867-24F1-F90B-94B60ABC7A1E}"/>
          </ac:spMkLst>
        </pc:spChg>
        <pc:spChg chg="mod">
          <ac:chgData name="Petro Petrashko (UA)" userId="5b2b3b98-3131-48c7-bb8a-19b196a36949" providerId="ADAL" clId="{351FE23D-61E3-4217-9757-ECF8C23312BF}" dt="2024-06-26T12:00:23.093" v="152" actId="164"/>
          <ac:spMkLst>
            <pc:docMk/>
            <pc:sldMk cId="397739886" sldId="2147482037"/>
            <ac:spMk id="27" creationId="{2BABB28D-F02F-3E81-098C-D01A3227AEA3}"/>
          </ac:spMkLst>
        </pc:spChg>
        <pc:spChg chg="mod">
          <ac:chgData name="Petro Petrashko (UA)" userId="5b2b3b98-3131-48c7-bb8a-19b196a36949" providerId="ADAL" clId="{351FE23D-61E3-4217-9757-ECF8C23312BF}" dt="2024-06-26T12:00:23.093" v="152" actId="164"/>
          <ac:spMkLst>
            <pc:docMk/>
            <pc:sldMk cId="397739886" sldId="2147482037"/>
            <ac:spMk id="28" creationId="{65AC1AB7-69ED-30EE-3EBA-6F49AA67C914}"/>
          </ac:spMkLst>
        </pc:spChg>
        <pc:spChg chg="mod">
          <ac:chgData name="Petro Petrashko (UA)" userId="5b2b3b98-3131-48c7-bb8a-19b196a36949" providerId="ADAL" clId="{351FE23D-61E3-4217-9757-ECF8C23312BF}" dt="2024-06-26T11:59:59.717" v="147" actId="164"/>
          <ac:spMkLst>
            <pc:docMk/>
            <pc:sldMk cId="397739886" sldId="2147482037"/>
            <ac:spMk id="29" creationId="{D0459FDC-3233-A1DB-B051-A449292A3271}"/>
          </ac:spMkLst>
        </pc:spChg>
        <pc:spChg chg="mod">
          <ac:chgData name="Petro Petrashko (UA)" userId="5b2b3b98-3131-48c7-bb8a-19b196a36949" providerId="ADAL" clId="{351FE23D-61E3-4217-9757-ECF8C23312BF}" dt="2024-06-26T11:59:59.717" v="147" actId="164"/>
          <ac:spMkLst>
            <pc:docMk/>
            <pc:sldMk cId="397739886" sldId="2147482037"/>
            <ac:spMk id="30" creationId="{56DDD360-1244-D50F-C2A3-BC5980E6824B}"/>
          </ac:spMkLst>
        </pc:spChg>
        <pc:spChg chg="mod">
          <ac:chgData name="Petro Petrashko (UA)" userId="5b2b3b98-3131-48c7-bb8a-19b196a36949" providerId="ADAL" clId="{351FE23D-61E3-4217-9757-ECF8C23312BF}" dt="2024-06-26T11:59:59.717" v="147" actId="164"/>
          <ac:spMkLst>
            <pc:docMk/>
            <pc:sldMk cId="397739886" sldId="2147482037"/>
            <ac:spMk id="31" creationId="{49EBE8B0-7F9A-2D45-0F8F-7DE8A1AA4190}"/>
          </ac:spMkLst>
        </pc:spChg>
        <pc:spChg chg="mod">
          <ac:chgData name="Petro Petrashko (UA)" userId="5b2b3b98-3131-48c7-bb8a-19b196a36949" providerId="ADAL" clId="{351FE23D-61E3-4217-9757-ECF8C23312BF}" dt="2024-06-26T12:00:20.271" v="151" actId="164"/>
          <ac:spMkLst>
            <pc:docMk/>
            <pc:sldMk cId="397739886" sldId="2147482037"/>
            <ac:spMk id="34" creationId="{12F0F6C0-438D-3E18-23F6-612713CE2115}"/>
          </ac:spMkLst>
        </pc:spChg>
        <pc:spChg chg="mod">
          <ac:chgData name="Petro Petrashko (UA)" userId="5b2b3b98-3131-48c7-bb8a-19b196a36949" providerId="ADAL" clId="{351FE23D-61E3-4217-9757-ECF8C23312BF}" dt="2024-06-26T12:00:20.271" v="151" actId="164"/>
          <ac:spMkLst>
            <pc:docMk/>
            <pc:sldMk cId="397739886" sldId="2147482037"/>
            <ac:spMk id="35" creationId="{3D6C46D7-181F-52AF-3604-AEBDF87FDBC8}"/>
          </ac:spMkLst>
        </pc:spChg>
        <pc:spChg chg="mod">
          <ac:chgData name="Petro Petrashko (UA)" userId="5b2b3b98-3131-48c7-bb8a-19b196a36949" providerId="ADAL" clId="{351FE23D-61E3-4217-9757-ECF8C23312BF}" dt="2024-06-26T12:00:20.271" v="151" actId="164"/>
          <ac:spMkLst>
            <pc:docMk/>
            <pc:sldMk cId="397739886" sldId="2147482037"/>
            <ac:spMk id="36" creationId="{E483E423-3961-DBAA-6FBD-63911D4A69DD}"/>
          </ac:spMkLst>
        </pc:spChg>
        <pc:spChg chg="mod topLvl">
          <ac:chgData name="Petro Petrashko (UA)" userId="5b2b3b98-3131-48c7-bb8a-19b196a36949" providerId="ADAL" clId="{351FE23D-61E3-4217-9757-ECF8C23312BF}" dt="2024-06-26T11:58:44.714" v="137" actId="165"/>
          <ac:spMkLst>
            <pc:docMk/>
            <pc:sldMk cId="397739886" sldId="2147482037"/>
            <ac:spMk id="57" creationId="{3C0183CD-5845-05C7-D216-BF050B7282B4}"/>
          </ac:spMkLst>
        </pc:spChg>
        <pc:spChg chg="mod topLvl">
          <ac:chgData name="Petro Petrashko (UA)" userId="5b2b3b98-3131-48c7-bb8a-19b196a36949" providerId="ADAL" clId="{351FE23D-61E3-4217-9757-ECF8C23312BF}" dt="2024-06-26T11:58:44.714" v="137" actId="165"/>
          <ac:spMkLst>
            <pc:docMk/>
            <pc:sldMk cId="397739886" sldId="2147482037"/>
            <ac:spMk id="58" creationId="{981760B5-459C-03C6-72A8-E29D8F60AF71}"/>
          </ac:spMkLst>
        </pc:spChg>
        <pc:spChg chg="mod topLvl">
          <ac:chgData name="Petro Petrashko (UA)" userId="5b2b3b98-3131-48c7-bb8a-19b196a36949" providerId="ADAL" clId="{351FE23D-61E3-4217-9757-ECF8C23312BF}" dt="2024-06-26T11:58:50.800" v="138" actId="14100"/>
          <ac:spMkLst>
            <pc:docMk/>
            <pc:sldMk cId="397739886" sldId="2147482037"/>
            <ac:spMk id="59" creationId="{832B2F95-73B0-29EB-38D5-C0F7E24D784C}"/>
          </ac:spMkLst>
        </pc:spChg>
        <pc:spChg chg="mod">
          <ac:chgData name="Petro Petrashko (UA)" userId="5b2b3b98-3131-48c7-bb8a-19b196a36949" providerId="ADAL" clId="{351FE23D-61E3-4217-9757-ECF8C23312BF}" dt="2024-06-26T12:00:10.251" v="149" actId="164"/>
          <ac:spMkLst>
            <pc:docMk/>
            <pc:sldMk cId="397739886" sldId="2147482037"/>
            <ac:spMk id="60" creationId="{69AC082A-899D-C3B0-421D-F82747759664}"/>
          </ac:spMkLst>
        </pc:spChg>
        <pc:spChg chg="mod">
          <ac:chgData name="Petro Petrashko (UA)" userId="5b2b3b98-3131-48c7-bb8a-19b196a36949" providerId="ADAL" clId="{351FE23D-61E3-4217-9757-ECF8C23312BF}" dt="2024-06-26T12:00:10.251" v="149" actId="164"/>
          <ac:spMkLst>
            <pc:docMk/>
            <pc:sldMk cId="397739886" sldId="2147482037"/>
            <ac:spMk id="61" creationId="{3E9975CB-98C1-D63F-B31F-2DF004165B9A}"/>
          </ac:spMkLst>
        </pc:spChg>
        <pc:spChg chg="mod">
          <ac:chgData name="Petro Petrashko (UA)" userId="5b2b3b98-3131-48c7-bb8a-19b196a36949" providerId="ADAL" clId="{351FE23D-61E3-4217-9757-ECF8C23312BF}" dt="2024-06-26T12:00:10.251" v="149" actId="164"/>
          <ac:spMkLst>
            <pc:docMk/>
            <pc:sldMk cId="397739886" sldId="2147482037"/>
            <ac:spMk id="65" creationId="{AB29024C-E5B6-39F7-7184-9CA1F128ECD5}"/>
          </ac:spMkLst>
        </pc:spChg>
        <pc:spChg chg="mod">
          <ac:chgData name="Petro Petrashko (UA)" userId="5b2b3b98-3131-48c7-bb8a-19b196a36949" providerId="ADAL" clId="{351FE23D-61E3-4217-9757-ECF8C23312BF}" dt="2024-06-26T12:00:12.192" v="150" actId="164"/>
          <ac:spMkLst>
            <pc:docMk/>
            <pc:sldMk cId="397739886" sldId="2147482037"/>
            <ac:spMk id="70" creationId="{7207570D-6BC3-69BD-FC5C-45A6B952F966}"/>
          </ac:spMkLst>
        </pc:spChg>
        <pc:spChg chg="mod">
          <ac:chgData name="Petro Petrashko (UA)" userId="5b2b3b98-3131-48c7-bb8a-19b196a36949" providerId="ADAL" clId="{351FE23D-61E3-4217-9757-ECF8C23312BF}" dt="2024-06-26T12:00:12.192" v="150" actId="164"/>
          <ac:spMkLst>
            <pc:docMk/>
            <pc:sldMk cId="397739886" sldId="2147482037"/>
            <ac:spMk id="71" creationId="{8AD510F6-20D5-AA5F-1048-A914947DAD38}"/>
          </ac:spMkLst>
        </pc:spChg>
        <pc:spChg chg="mod">
          <ac:chgData name="Petro Petrashko (UA)" userId="5b2b3b98-3131-48c7-bb8a-19b196a36949" providerId="ADAL" clId="{351FE23D-61E3-4217-9757-ECF8C23312BF}" dt="2024-06-26T12:00:12.192" v="150" actId="164"/>
          <ac:spMkLst>
            <pc:docMk/>
            <pc:sldMk cId="397739886" sldId="2147482037"/>
            <ac:spMk id="77" creationId="{3432C0A4-405D-441A-EB86-A22F12BE4238}"/>
          </ac:spMkLst>
        </pc:spChg>
        <pc:spChg chg="mod topLvl">
          <ac:chgData name="Petro Petrashko (UA)" userId="5b2b3b98-3131-48c7-bb8a-19b196a36949" providerId="ADAL" clId="{351FE23D-61E3-4217-9757-ECF8C23312BF}" dt="2024-06-26T11:59:13.602" v="143" actId="14100"/>
          <ac:spMkLst>
            <pc:docMk/>
            <pc:sldMk cId="397739886" sldId="2147482037"/>
            <ac:spMk id="78" creationId="{BE3E5224-9CA3-6737-AB60-A9BC8A74B53B}"/>
          </ac:spMkLst>
        </pc:spChg>
        <pc:spChg chg="mod topLvl">
          <ac:chgData name="Petro Petrashko (UA)" userId="5b2b3b98-3131-48c7-bb8a-19b196a36949" providerId="ADAL" clId="{351FE23D-61E3-4217-9757-ECF8C23312BF}" dt="2024-06-26T11:58:09.120" v="126" actId="165"/>
          <ac:spMkLst>
            <pc:docMk/>
            <pc:sldMk cId="397739886" sldId="2147482037"/>
            <ac:spMk id="79" creationId="{439A9964-36BC-352E-237D-2106921EBD2A}"/>
          </ac:spMkLst>
        </pc:spChg>
        <pc:spChg chg="mod topLvl">
          <ac:chgData name="Petro Petrashko (UA)" userId="5b2b3b98-3131-48c7-bb8a-19b196a36949" providerId="ADAL" clId="{351FE23D-61E3-4217-9757-ECF8C23312BF}" dt="2024-06-26T11:58:09.120" v="126" actId="165"/>
          <ac:spMkLst>
            <pc:docMk/>
            <pc:sldMk cId="397739886" sldId="2147482037"/>
            <ac:spMk id="84" creationId="{5A219F35-D58F-CAEF-157C-5D3E3F42A40E}"/>
          </ac:spMkLst>
        </pc:spChg>
        <pc:spChg chg="mod topLvl">
          <ac:chgData name="Petro Petrashko (UA)" userId="5b2b3b98-3131-48c7-bb8a-19b196a36949" providerId="ADAL" clId="{351FE23D-61E3-4217-9757-ECF8C23312BF}" dt="2024-06-26T11:59:13.602" v="143" actId="14100"/>
          <ac:spMkLst>
            <pc:docMk/>
            <pc:sldMk cId="397739886" sldId="2147482037"/>
            <ac:spMk id="85" creationId="{08B6BEF4-3A2A-EA8B-9B23-1077D45E646B}"/>
          </ac:spMkLst>
        </pc:spChg>
        <pc:spChg chg="mod topLvl">
          <ac:chgData name="Petro Petrashko (UA)" userId="5b2b3b98-3131-48c7-bb8a-19b196a36949" providerId="ADAL" clId="{351FE23D-61E3-4217-9757-ECF8C23312BF}" dt="2024-06-26T11:58:26.056" v="130" actId="552"/>
          <ac:spMkLst>
            <pc:docMk/>
            <pc:sldMk cId="397739886" sldId="2147482037"/>
            <ac:spMk id="86" creationId="{7DBFE9F6-0EC2-4655-B74B-264807A61F4D}"/>
          </ac:spMkLst>
        </pc:spChg>
        <pc:spChg chg="mod topLvl">
          <ac:chgData name="Petro Petrashko (UA)" userId="5b2b3b98-3131-48c7-bb8a-19b196a36949" providerId="ADAL" clId="{351FE23D-61E3-4217-9757-ECF8C23312BF}" dt="2024-06-26T11:58:09.120" v="126" actId="165"/>
          <ac:spMkLst>
            <pc:docMk/>
            <pc:sldMk cId="397739886" sldId="2147482037"/>
            <ac:spMk id="87" creationId="{B1411005-2AD1-BD0C-EC52-E1836D2C47CA}"/>
          </ac:spMkLst>
        </pc:spChg>
        <pc:grpChg chg="mod">
          <ac:chgData name="Petro Petrashko (UA)" userId="5b2b3b98-3131-48c7-bb8a-19b196a36949" providerId="ADAL" clId="{351FE23D-61E3-4217-9757-ECF8C23312BF}" dt="2024-06-26T11:58:42.101" v="136" actId="552"/>
          <ac:grpSpMkLst>
            <pc:docMk/>
            <pc:sldMk cId="397739886" sldId="2147482037"/>
            <ac:grpSpMk id="38" creationId="{2EB1887D-221C-E4B7-8417-096219E6162D}"/>
          </ac:grpSpMkLst>
        </pc:grpChg>
        <pc:grpChg chg="del">
          <ac:chgData name="Petro Petrashko (UA)" userId="5b2b3b98-3131-48c7-bb8a-19b196a36949" providerId="ADAL" clId="{351FE23D-61E3-4217-9757-ECF8C23312BF}" dt="2024-06-26T11:58:09.120" v="126" actId="165"/>
          <ac:grpSpMkLst>
            <pc:docMk/>
            <pc:sldMk cId="397739886" sldId="2147482037"/>
            <ac:grpSpMk id="89" creationId="{2B950FD8-C3EE-95B7-DB04-9DA6B60611A5}"/>
          </ac:grpSpMkLst>
        </pc:grpChg>
        <pc:grpChg chg="del">
          <ac:chgData name="Petro Petrashko (UA)" userId="5b2b3b98-3131-48c7-bb8a-19b196a36949" providerId="ADAL" clId="{351FE23D-61E3-4217-9757-ECF8C23312BF}" dt="2024-06-26T11:58:09.120" v="126" actId="165"/>
          <ac:grpSpMkLst>
            <pc:docMk/>
            <pc:sldMk cId="397739886" sldId="2147482037"/>
            <ac:grpSpMk id="90" creationId="{26048BE9-4692-8F2B-A707-199D1F1823B4}"/>
          </ac:grpSpMkLst>
        </pc:grpChg>
        <pc:grpChg chg="del">
          <ac:chgData name="Petro Petrashko (UA)" userId="5b2b3b98-3131-48c7-bb8a-19b196a36949" providerId="ADAL" clId="{351FE23D-61E3-4217-9757-ECF8C23312BF}" dt="2024-06-26T11:58:09.120" v="126" actId="165"/>
          <ac:grpSpMkLst>
            <pc:docMk/>
            <pc:sldMk cId="397739886" sldId="2147482037"/>
            <ac:grpSpMk id="92" creationId="{961F0A89-6AB8-16CA-7CC3-83AB5CA5E6FA}"/>
          </ac:grpSpMkLst>
        </pc:grpChg>
        <pc:grpChg chg="del">
          <ac:chgData name="Petro Petrashko (UA)" userId="5b2b3b98-3131-48c7-bb8a-19b196a36949" providerId="ADAL" clId="{351FE23D-61E3-4217-9757-ECF8C23312BF}" dt="2024-06-26T11:58:09.120" v="126" actId="165"/>
          <ac:grpSpMkLst>
            <pc:docMk/>
            <pc:sldMk cId="397739886" sldId="2147482037"/>
            <ac:grpSpMk id="93" creationId="{3BE257AE-A021-EBB4-B4D6-852D95483BA0}"/>
          </ac:grpSpMkLst>
        </pc:grpChg>
        <pc:grpChg chg="add del mod">
          <ac:chgData name="Petro Petrashko (UA)" userId="5b2b3b98-3131-48c7-bb8a-19b196a36949" providerId="ADAL" clId="{351FE23D-61E3-4217-9757-ECF8C23312BF}" dt="2024-06-26T11:58:44.714" v="137" actId="165"/>
          <ac:grpSpMkLst>
            <pc:docMk/>
            <pc:sldMk cId="397739886" sldId="2147482037"/>
            <ac:grpSpMk id="94" creationId="{3BD730C1-AD51-C491-D94A-47F294E044BC}"/>
          </ac:grpSpMkLst>
        </pc:grpChg>
        <pc:grpChg chg="add del mod">
          <ac:chgData name="Petro Petrashko (UA)" userId="5b2b3b98-3131-48c7-bb8a-19b196a36949" providerId="ADAL" clId="{351FE23D-61E3-4217-9757-ECF8C23312BF}" dt="2024-06-26T11:58:44.714" v="137" actId="165"/>
          <ac:grpSpMkLst>
            <pc:docMk/>
            <pc:sldMk cId="397739886" sldId="2147482037"/>
            <ac:grpSpMk id="95" creationId="{E5CFE80A-A389-7422-5E5D-6C0C17AA4417}"/>
          </ac:grpSpMkLst>
        </pc:grpChg>
        <pc:grpChg chg="add mod">
          <ac:chgData name="Petro Petrashko (UA)" userId="5b2b3b98-3131-48c7-bb8a-19b196a36949" providerId="ADAL" clId="{351FE23D-61E3-4217-9757-ECF8C23312BF}" dt="2024-06-26T11:59:59.717" v="147" actId="164"/>
          <ac:grpSpMkLst>
            <pc:docMk/>
            <pc:sldMk cId="397739886" sldId="2147482037"/>
            <ac:grpSpMk id="96" creationId="{F20D40B7-8FC9-DA8E-E935-54637CFCC2B5}"/>
          </ac:grpSpMkLst>
        </pc:grpChg>
        <pc:grpChg chg="add mod">
          <ac:chgData name="Petro Petrashko (UA)" userId="5b2b3b98-3131-48c7-bb8a-19b196a36949" providerId="ADAL" clId="{351FE23D-61E3-4217-9757-ECF8C23312BF}" dt="2024-06-26T12:00:29.298" v="153" actId="465"/>
          <ac:grpSpMkLst>
            <pc:docMk/>
            <pc:sldMk cId="397739886" sldId="2147482037"/>
            <ac:grpSpMk id="97" creationId="{40F4994B-1145-82B6-EC02-E5C9CCEE65F7}"/>
          </ac:grpSpMkLst>
        </pc:grpChg>
        <pc:grpChg chg="add mod">
          <ac:chgData name="Petro Petrashko (UA)" userId="5b2b3b98-3131-48c7-bb8a-19b196a36949" providerId="ADAL" clId="{351FE23D-61E3-4217-9757-ECF8C23312BF}" dt="2024-06-26T12:00:29.298" v="153" actId="465"/>
          <ac:grpSpMkLst>
            <pc:docMk/>
            <pc:sldMk cId="397739886" sldId="2147482037"/>
            <ac:grpSpMk id="109" creationId="{3DDF5F00-935D-4285-798A-D647982E65FB}"/>
          </ac:grpSpMkLst>
        </pc:grpChg>
        <pc:grpChg chg="add mod">
          <ac:chgData name="Petro Petrashko (UA)" userId="5b2b3b98-3131-48c7-bb8a-19b196a36949" providerId="ADAL" clId="{351FE23D-61E3-4217-9757-ECF8C23312BF}" dt="2024-06-26T12:00:29.298" v="153" actId="465"/>
          <ac:grpSpMkLst>
            <pc:docMk/>
            <pc:sldMk cId="397739886" sldId="2147482037"/>
            <ac:grpSpMk id="110" creationId="{D8639795-6572-1F0E-36C4-49C46A91FCF9}"/>
          </ac:grpSpMkLst>
        </pc:grpChg>
        <pc:grpChg chg="add mod">
          <ac:chgData name="Petro Petrashko (UA)" userId="5b2b3b98-3131-48c7-bb8a-19b196a36949" providerId="ADAL" clId="{351FE23D-61E3-4217-9757-ECF8C23312BF}" dt="2024-06-26T12:00:23.093" v="152" actId="164"/>
          <ac:grpSpMkLst>
            <pc:docMk/>
            <pc:sldMk cId="397739886" sldId="2147482037"/>
            <ac:grpSpMk id="111" creationId="{4C335918-7D9C-97F0-3EEB-64ECCADA1A45}"/>
          </ac:grpSpMkLst>
        </pc:grpChg>
        <pc:cxnChg chg="mod">
          <ac:chgData name="Petro Petrashko (UA)" userId="5b2b3b98-3131-48c7-bb8a-19b196a36949" providerId="ADAL" clId="{351FE23D-61E3-4217-9757-ECF8C23312BF}" dt="2024-06-26T12:00:29.298" v="153" actId="465"/>
          <ac:cxnSpMkLst>
            <pc:docMk/>
            <pc:sldMk cId="397739886" sldId="2147482037"/>
            <ac:cxnSpMk id="32" creationId="{6FB9FF39-FB37-F7B7-7BB8-D586ABC87424}"/>
          </ac:cxnSpMkLst>
        </pc:cxnChg>
        <pc:cxnChg chg="mod">
          <ac:chgData name="Petro Petrashko (UA)" userId="5b2b3b98-3131-48c7-bb8a-19b196a36949" providerId="ADAL" clId="{351FE23D-61E3-4217-9757-ECF8C23312BF}" dt="2024-06-26T12:00:29.298" v="153" actId="465"/>
          <ac:cxnSpMkLst>
            <pc:docMk/>
            <pc:sldMk cId="397739886" sldId="2147482037"/>
            <ac:cxnSpMk id="33" creationId="{EE8A2E9F-E0AC-CE3E-DCBA-C0CF411D77C5}"/>
          </ac:cxnSpMkLst>
        </pc:cxnChg>
        <pc:cxnChg chg="mod">
          <ac:chgData name="Petro Petrashko (UA)" userId="5b2b3b98-3131-48c7-bb8a-19b196a36949" providerId="ADAL" clId="{351FE23D-61E3-4217-9757-ECF8C23312BF}" dt="2024-06-26T12:00:29.298" v="153" actId="465"/>
          <ac:cxnSpMkLst>
            <pc:docMk/>
            <pc:sldMk cId="397739886" sldId="2147482037"/>
            <ac:cxnSpMk id="37" creationId="{CF5AD291-53EC-695B-A24D-BBB181836C29}"/>
          </ac:cxnSpMkLst>
        </pc:cxnChg>
        <pc:cxnChg chg="mod">
          <ac:chgData name="Petro Petrashko (UA)" userId="5b2b3b98-3131-48c7-bb8a-19b196a36949" providerId="ADAL" clId="{351FE23D-61E3-4217-9757-ECF8C23312BF}" dt="2024-06-26T11:58:31.409" v="133" actId="552"/>
          <ac:cxnSpMkLst>
            <pc:docMk/>
            <pc:sldMk cId="397739886" sldId="2147482037"/>
            <ac:cxnSpMk id="56" creationId="{580FC50D-4710-A5D4-477D-599F2A77B01F}"/>
          </ac:cxnSpMkLst>
        </pc:cxnChg>
        <pc:cxnChg chg="mod">
          <ac:chgData name="Petro Petrashko (UA)" userId="5b2b3b98-3131-48c7-bb8a-19b196a36949" providerId="ADAL" clId="{351FE23D-61E3-4217-9757-ECF8C23312BF}" dt="2024-06-26T12:00:29.298" v="153" actId="465"/>
          <ac:cxnSpMkLst>
            <pc:docMk/>
            <pc:sldMk cId="397739886" sldId="2147482037"/>
            <ac:cxnSpMk id="69" creationId="{62ADF71A-913A-C361-3477-FA98B60521EE}"/>
          </ac:cxnSpMkLst>
        </pc:cxnChg>
      </pc:sldChg>
      <pc:sldChg chg="mod ord modShow">
        <pc:chgData name="Petro Petrashko (UA)" userId="5b2b3b98-3131-48c7-bb8a-19b196a36949" providerId="ADAL" clId="{351FE23D-61E3-4217-9757-ECF8C23312BF}" dt="2024-06-26T10:34:16.928" v="6" actId="729"/>
        <pc:sldMkLst>
          <pc:docMk/>
          <pc:sldMk cId="1070168670" sldId="2147482105"/>
        </pc:sldMkLst>
      </pc:sldChg>
    </pc:docChg>
  </pc:docChgLst>
  <pc:docChgLst>
    <pc:chgData name="Annemarija Apine (LV)" userId="546f5c59-3b8d-47fd-b739-a8fadc631053" providerId="ADAL" clId="{9261B257-D8AF-4BC0-86C8-CC835714A4DB}"/>
    <pc:docChg chg="undo custSel modSld replTag">
      <pc:chgData name="Annemarija Apine (LV)" userId="546f5c59-3b8d-47fd-b739-a8fadc631053" providerId="ADAL" clId="{9261B257-D8AF-4BC0-86C8-CC835714A4DB}" dt="2024-06-26T11:38:14.049" v="214"/>
      <pc:docMkLst>
        <pc:docMk/>
      </pc:docMkLst>
      <pc:sldChg chg="addSp delSp modSp mod">
        <pc:chgData name="Annemarija Apine (LV)" userId="546f5c59-3b8d-47fd-b739-a8fadc631053" providerId="ADAL" clId="{9261B257-D8AF-4BC0-86C8-CC835714A4DB}" dt="2024-06-26T11:20:40.182" v="73" actId="478"/>
        <pc:sldMkLst>
          <pc:docMk/>
          <pc:sldMk cId="2214180997" sldId="2147481982"/>
        </pc:sldMkLst>
        <pc:picChg chg="add del mod">
          <ac:chgData name="Annemarija Apine (LV)" userId="546f5c59-3b8d-47fd-b739-a8fadc631053" providerId="ADAL" clId="{9261B257-D8AF-4BC0-86C8-CC835714A4DB}" dt="2024-06-26T11:20:40.182" v="73" actId="478"/>
          <ac:picMkLst>
            <pc:docMk/>
            <pc:sldMk cId="2214180997" sldId="2147481982"/>
            <ac:picMk id="10" creationId="{A4A04257-2D57-8581-8FD0-4EC35D248D02}"/>
          </ac:picMkLst>
        </pc:picChg>
      </pc:sldChg>
      <pc:sldChg chg="delSp modSp mod">
        <pc:chgData name="Annemarija Apine (LV)" userId="546f5c59-3b8d-47fd-b739-a8fadc631053" providerId="ADAL" clId="{9261B257-D8AF-4BC0-86C8-CC835714A4DB}" dt="2024-06-26T11:23:14.722" v="95" actId="14100"/>
        <pc:sldMkLst>
          <pc:docMk/>
          <pc:sldMk cId="28118731" sldId="2147481984"/>
        </pc:sldMkLst>
        <pc:spChg chg="mod">
          <ac:chgData name="Annemarija Apine (LV)" userId="546f5c59-3b8d-47fd-b739-a8fadc631053" providerId="ADAL" clId="{9261B257-D8AF-4BC0-86C8-CC835714A4DB}" dt="2024-06-26T11:23:14.722" v="95" actId="14100"/>
          <ac:spMkLst>
            <pc:docMk/>
            <pc:sldMk cId="28118731" sldId="2147481984"/>
            <ac:spMk id="52" creationId="{54140961-D367-FFB1-E0FC-3F385487D472}"/>
          </ac:spMkLst>
        </pc:spChg>
        <pc:spChg chg="del">
          <ac:chgData name="Annemarija Apine (LV)" userId="546f5c59-3b8d-47fd-b739-a8fadc631053" providerId="ADAL" clId="{9261B257-D8AF-4BC0-86C8-CC835714A4DB}" dt="2024-06-26T11:23:10.395" v="94" actId="478"/>
          <ac:spMkLst>
            <pc:docMk/>
            <pc:sldMk cId="28118731" sldId="2147481984"/>
            <ac:spMk id="64" creationId="{C8839363-023E-6108-2610-F9869562BA65}"/>
          </ac:spMkLst>
        </pc:spChg>
        <pc:spChg chg="del">
          <ac:chgData name="Annemarija Apine (LV)" userId="546f5c59-3b8d-47fd-b739-a8fadc631053" providerId="ADAL" clId="{9261B257-D8AF-4BC0-86C8-CC835714A4DB}" dt="2024-06-26T11:23:10.395" v="94" actId="478"/>
          <ac:spMkLst>
            <pc:docMk/>
            <pc:sldMk cId="28118731" sldId="2147481984"/>
            <ac:spMk id="91" creationId="{923ED525-0203-6BC5-F3E8-8ABB7C0A1DD9}"/>
          </ac:spMkLst>
        </pc:spChg>
        <pc:spChg chg="del">
          <ac:chgData name="Annemarija Apine (LV)" userId="546f5c59-3b8d-47fd-b739-a8fadc631053" providerId="ADAL" clId="{9261B257-D8AF-4BC0-86C8-CC835714A4DB}" dt="2024-06-26T11:23:10.395" v="94" actId="478"/>
          <ac:spMkLst>
            <pc:docMk/>
            <pc:sldMk cId="28118731" sldId="2147481984"/>
            <ac:spMk id="92" creationId="{97672140-6C3A-9556-1AB0-06A807124770}"/>
          </ac:spMkLst>
        </pc:spChg>
      </pc:sldChg>
      <pc:sldChg chg="modSp mod">
        <pc:chgData name="Annemarija Apine (LV)" userId="546f5c59-3b8d-47fd-b739-a8fadc631053" providerId="ADAL" clId="{9261B257-D8AF-4BC0-86C8-CC835714A4DB}" dt="2024-06-26T11:30:59.624" v="194" actId="255"/>
        <pc:sldMkLst>
          <pc:docMk/>
          <pc:sldMk cId="802236342" sldId="2147481991"/>
        </pc:sldMkLst>
        <pc:spChg chg="mod">
          <ac:chgData name="Annemarija Apine (LV)" userId="546f5c59-3b8d-47fd-b739-a8fadc631053" providerId="ADAL" clId="{9261B257-D8AF-4BC0-86C8-CC835714A4DB}" dt="2024-06-26T11:30:59.624" v="194" actId="255"/>
          <ac:spMkLst>
            <pc:docMk/>
            <pc:sldMk cId="802236342" sldId="2147481991"/>
            <ac:spMk id="22" creationId="{DAE9E604-1C25-457F-090B-9B5F2D4E578F}"/>
          </ac:spMkLst>
        </pc:spChg>
      </pc:sldChg>
    </pc:docChg>
  </pc:docChgLst>
  <pc:docChgLst>
    <pc:chgData name="Annemarija Apine (LV)" userId="546f5c59-3b8d-47fd-b739-a8fadc631053" providerId="ADAL" clId="{30149FE3-5EE2-498D-BF72-C01B10C6919A}"/>
    <pc:docChg chg="custSel replTag">
      <pc:chgData name="Annemarija Apine (LV)" userId="546f5c59-3b8d-47fd-b739-a8fadc631053" providerId="ADAL" clId="{30149FE3-5EE2-498D-BF72-C01B10C6919A}" dt="2024-07-08T15:44:19.776" v="2"/>
      <pc:docMkLst>
        <pc:docMk/>
      </pc:docMkLst>
      <pc:sldChg chg="delCm">
        <pc:chgData name="Annemarija Apine (LV)" userId="546f5c59-3b8d-47fd-b739-a8fadc631053" providerId="ADAL" clId="{30149FE3-5EE2-498D-BF72-C01B10C6919A}" dt="2024-07-08T15:44:12.062" v="1"/>
        <pc:sldMkLst>
          <pc:docMk/>
          <pc:sldMk cId="4093114022" sldId="644"/>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0149FE3-5EE2-498D-BF72-C01B10C6919A}" dt="2024-07-08T15:44:12.062" v="1"/>
              <pc2:cmMkLst xmlns:pc2="http://schemas.microsoft.com/office/powerpoint/2019/9/main/command">
                <pc:docMk/>
                <pc:sldMk cId="4093114022" sldId="644"/>
                <pc2:cmMk id="{CC87D69E-961E-4BF7-8885-A64FEE3F5D1C}"/>
              </pc2:cmMkLst>
            </pc226:cmChg>
          </p:ext>
        </pc:extLst>
      </pc:sldChg>
      <pc:sldChg chg="delCm">
        <pc:chgData name="Annemarija Apine (LV)" userId="546f5c59-3b8d-47fd-b739-a8fadc631053" providerId="ADAL" clId="{30149FE3-5EE2-498D-BF72-C01B10C6919A}" dt="2024-07-08T15:44:12.062" v="1"/>
        <pc:sldMkLst>
          <pc:docMk/>
          <pc:sldMk cId="2214180997" sldId="2147481982"/>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0149FE3-5EE2-498D-BF72-C01B10C6919A}" dt="2024-07-08T15:44:12.062" v="1"/>
              <pc2:cmMkLst xmlns:pc2="http://schemas.microsoft.com/office/powerpoint/2019/9/main/command">
                <pc:docMk/>
                <pc:sldMk cId="2214180997" sldId="2147481982"/>
                <pc2:cmMk id="{C4AC9989-EF57-4649-B8EA-CA1106933571}"/>
              </pc2:cmMkLst>
            </pc226:cmChg>
            <pc226:cmChg xmlns:pc226="http://schemas.microsoft.com/office/powerpoint/2022/06/main/command" chg="del">
              <pc226:chgData name="Annemarija Apine (LV)" userId="546f5c59-3b8d-47fd-b739-a8fadc631053" providerId="ADAL" clId="{30149FE3-5EE2-498D-BF72-C01B10C6919A}" dt="2024-07-08T15:44:12.062" v="1"/>
              <pc2:cmMkLst xmlns:pc2="http://schemas.microsoft.com/office/powerpoint/2019/9/main/command">
                <pc:docMk/>
                <pc:sldMk cId="2214180997" sldId="2147481982"/>
                <pc2:cmMk id="{AE6F57BF-8C1D-4D08-B0C7-8837B5033847}"/>
              </pc2:cmMkLst>
            </pc226:cmChg>
          </p:ext>
        </pc:extLst>
      </pc:sldChg>
      <pc:sldChg chg="delCm">
        <pc:chgData name="Annemarija Apine (LV)" userId="546f5c59-3b8d-47fd-b739-a8fadc631053" providerId="ADAL" clId="{30149FE3-5EE2-498D-BF72-C01B10C6919A}" dt="2024-07-08T15:44:12.062" v="1"/>
        <pc:sldMkLst>
          <pc:docMk/>
          <pc:sldMk cId="802236342" sldId="2147481991"/>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0149FE3-5EE2-498D-BF72-C01B10C6919A}" dt="2024-07-08T15:44:12.062" v="1"/>
              <pc2:cmMkLst xmlns:pc2="http://schemas.microsoft.com/office/powerpoint/2019/9/main/command">
                <pc:docMk/>
                <pc:sldMk cId="802236342" sldId="2147481991"/>
                <pc2:cmMk id="{3C8807EE-4173-4A83-941A-51163258CE14}"/>
              </pc2:cmMkLst>
            </pc226:cmChg>
          </p:ext>
        </pc:extLst>
      </pc:sldChg>
      <pc:sldChg chg="delCm">
        <pc:chgData name="Annemarija Apine (LV)" userId="546f5c59-3b8d-47fd-b739-a8fadc631053" providerId="ADAL" clId="{30149FE3-5EE2-498D-BF72-C01B10C6919A}" dt="2024-07-08T15:44:12.062" v="1"/>
        <pc:sldMkLst>
          <pc:docMk/>
          <pc:sldMk cId="1613844391" sldId="2147481992"/>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0149FE3-5EE2-498D-BF72-C01B10C6919A}" dt="2024-07-08T15:44:12.062" v="1"/>
              <pc2:cmMkLst xmlns:pc2="http://schemas.microsoft.com/office/powerpoint/2019/9/main/command">
                <pc:docMk/>
                <pc:sldMk cId="1613844391" sldId="2147481992"/>
                <pc2:cmMk id="{86E85305-CBFF-4095-AFDE-F06BD32003C3}"/>
              </pc2:cmMkLst>
            </pc226:cmChg>
          </p:ext>
        </pc:extLst>
      </pc:sldChg>
      <pc:sldChg chg="delCm">
        <pc:chgData name="Annemarija Apine (LV)" userId="546f5c59-3b8d-47fd-b739-a8fadc631053" providerId="ADAL" clId="{30149FE3-5EE2-498D-BF72-C01B10C6919A}" dt="2024-07-08T15:44:12.062" v="1"/>
        <pc:sldMkLst>
          <pc:docMk/>
          <pc:sldMk cId="1791248831" sldId="2147482012"/>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0149FE3-5EE2-498D-BF72-C01B10C6919A}" dt="2024-07-08T15:44:12.062" v="1"/>
              <pc2:cmMkLst xmlns:pc2="http://schemas.microsoft.com/office/powerpoint/2019/9/main/command">
                <pc:docMk/>
                <pc:sldMk cId="1791248831" sldId="2147482012"/>
                <pc2:cmMk id="{076195FD-6758-49F6-A8B1-EF2326D1098C}"/>
              </pc2:cmMkLst>
            </pc226:cmChg>
          </p:ext>
        </pc:extLst>
      </pc:sldChg>
      <pc:sldChg chg="delCm">
        <pc:chgData name="Annemarija Apine (LV)" userId="546f5c59-3b8d-47fd-b739-a8fadc631053" providerId="ADAL" clId="{30149FE3-5EE2-498D-BF72-C01B10C6919A}" dt="2024-07-08T15:44:12.062" v="1"/>
        <pc:sldMkLst>
          <pc:docMk/>
          <pc:sldMk cId="2403530007" sldId="2147482019"/>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0149FE3-5EE2-498D-BF72-C01B10C6919A}" dt="2024-07-08T15:44:12.062" v="1"/>
              <pc2:cmMkLst xmlns:pc2="http://schemas.microsoft.com/office/powerpoint/2019/9/main/command">
                <pc:docMk/>
                <pc:sldMk cId="2403530007" sldId="2147482019"/>
                <pc2:cmMk id="{02CBE78D-7408-4FAF-9D53-CDA36AC5E0AB}"/>
              </pc2:cmMkLst>
            </pc226:cmChg>
          </p:ext>
        </pc:extLst>
      </pc:sldChg>
      <pc:sldChg chg="delCm">
        <pc:chgData name="Annemarija Apine (LV)" userId="546f5c59-3b8d-47fd-b739-a8fadc631053" providerId="ADAL" clId="{30149FE3-5EE2-498D-BF72-C01B10C6919A}" dt="2024-07-08T15:44:12.062" v="1"/>
        <pc:sldMkLst>
          <pc:docMk/>
          <pc:sldMk cId="397739886" sldId="2147482037"/>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0149FE3-5EE2-498D-BF72-C01B10C6919A}" dt="2024-07-08T15:44:12.062" v="1"/>
              <pc2:cmMkLst xmlns:pc2="http://schemas.microsoft.com/office/powerpoint/2019/9/main/command">
                <pc:docMk/>
                <pc:sldMk cId="397739886" sldId="2147482037"/>
                <pc2:cmMk id="{91553C0B-D700-41F4-997A-C62660831CB6}"/>
              </pc2:cmMkLst>
            </pc226:cmChg>
          </p:ext>
        </pc:extLst>
      </pc:sldChg>
      <pc:sldChg chg="delCm">
        <pc:chgData name="Annemarija Apine (LV)" userId="546f5c59-3b8d-47fd-b739-a8fadc631053" providerId="ADAL" clId="{30149FE3-5EE2-498D-BF72-C01B10C6919A}" dt="2024-07-08T15:44:12.062" v="1"/>
        <pc:sldMkLst>
          <pc:docMk/>
          <pc:sldMk cId="266540937" sldId="2147482091"/>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0149FE3-5EE2-498D-BF72-C01B10C6919A}" dt="2024-07-08T15:44:12.062" v="1"/>
              <pc2:cmMkLst xmlns:pc2="http://schemas.microsoft.com/office/powerpoint/2019/9/main/command">
                <pc:docMk/>
                <pc:sldMk cId="266540937" sldId="2147482091"/>
                <pc2:cmMk id="{AD3A2245-7D6F-4200-BB33-EA661264C28F}"/>
              </pc2:cmMkLst>
            </pc226:cmChg>
          </p:ext>
        </pc:extLst>
      </pc:sldChg>
    </pc:docChg>
  </pc:docChgLst>
  <pc:docChgLst>
    <pc:chgData name="Sindija Kirsteine (LV)" userId="5f25501a-2215-4bb3-9d9c-8d1484ffa7c1" providerId="ADAL" clId="{5C659B16-48DB-453B-907A-8EA353AF644C}"/>
    <pc:docChg chg="undo custSel mod addSld delSld modSld replTag">
      <pc:chgData name="Sindija Kirsteine (LV)" userId="5f25501a-2215-4bb3-9d9c-8d1484ffa7c1" providerId="ADAL" clId="{5C659B16-48DB-453B-907A-8EA353AF644C}" dt="2024-07-03T08:15:16.748" v="1478"/>
      <pc:docMkLst>
        <pc:docMk/>
      </pc:docMkLst>
      <pc:sldChg chg="modSp mod">
        <pc:chgData name="Sindija Kirsteine (LV)" userId="5f25501a-2215-4bb3-9d9c-8d1484ffa7c1" providerId="ADAL" clId="{5C659B16-48DB-453B-907A-8EA353AF644C}" dt="2024-07-01T06:57:45.940" v="1464" actId="207"/>
        <pc:sldMkLst>
          <pc:docMk/>
          <pc:sldMk cId="4093114022" sldId="644"/>
        </pc:sldMkLst>
        <pc:spChg chg="mod">
          <ac:chgData name="Sindija Kirsteine (LV)" userId="5f25501a-2215-4bb3-9d9c-8d1484ffa7c1" providerId="ADAL" clId="{5C659B16-48DB-453B-907A-8EA353AF644C}" dt="2024-07-01T06:57:45.940" v="1464" actId="207"/>
          <ac:spMkLst>
            <pc:docMk/>
            <pc:sldMk cId="4093114022" sldId="644"/>
            <ac:spMk id="28" creationId="{B76B17B5-8B5C-F3CE-8063-0A63948D78B6}"/>
          </ac:spMkLst>
        </pc:spChg>
      </pc:sldChg>
      <pc:sldChg chg="addSp delSp modSp mod modCm">
        <pc:chgData name="Sindija Kirsteine (LV)" userId="5f25501a-2215-4bb3-9d9c-8d1484ffa7c1" providerId="ADAL" clId="{5C659B16-48DB-453B-907A-8EA353AF644C}" dt="2024-06-26T12:07:37.869" v="1044" actId="20577"/>
        <pc:sldMkLst>
          <pc:docMk/>
          <pc:sldMk cId="2214180997" sldId="2147481982"/>
        </pc:sldMkLst>
        <pc:spChg chg="mod">
          <ac:chgData name="Sindija Kirsteine (LV)" userId="5f25501a-2215-4bb3-9d9c-8d1484ffa7c1" providerId="ADAL" clId="{5C659B16-48DB-453B-907A-8EA353AF644C}" dt="2024-06-26T12:07:17.504" v="1035" actId="20577"/>
          <ac:spMkLst>
            <pc:docMk/>
            <pc:sldMk cId="2214180997" sldId="2147481982"/>
            <ac:spMk id="2" creationId="{EC47296D-9568-ED7D-0457-80174E2BF2F8}"/>
          </ac:spMkLst>
        </pc:spChg>
        <pc:spChg chg="del">
          <ac:chgData name="Sindija Kirsteine (LV)" userId="5f25501a-2215-4bb3-9d9c-8d1484ffa7c1" providerId="ADAL" clId="{5C659B16-48DB-453B-907A-8EA353AF644C}" dt="2024-06-26T11:32:36.474" v="237" actId="478"/>
          <ac:spMkLst>
            <pc:docMk/>
            <pc:sldMk cId="2214180997" sldId="2147481982"/>
            <ac:spMk id="14" creationId="{69CFE8AA-8BE2-A62E-A1B9-8B4AE9C53218}"/>
          </ac:spMkLst>
        </pc:spChg>
        <pc:spChg chg="del">
          <ac:chgData name="Sindija Kirsteine (LV)" userId="5f25501a-2215-4bb3-9d9c-8d1484ffa7c1" providerId="ADAL" clId="{5C659B16-48DB-453B-907A-8EA353AF644C}" dt="2024-06-26T11:34:48.947" v="447" actId="478"/>
          <ac:spMkLst>
            <pc:docMk/>
            <pc:sldMk cId="2214180997" sldId="2147481982"/>
            <ac:spMk id="17" creationId="{F910971B-2255-41F9-8303-8F4AF0AD11A8}"/>
          </ac:spMkLst>
        </pc:spChg>
        <pc:spChg chg="del">
          <ac:chgData name="Sindija Kirsteine (LV)" userId="5f25501a-2215-4bb3-9d9c-8d1484ffa7c1" providerId="ADAL" clId="{5C659B16-48DB-453B-907A-8EA353AF644C}" dt="2024-06-26T11:32:36.474" v="237" actId="478"/>
          <ac:spMkLst>
            <pc:docMk/>
            <pc:sldMk cId="2214180997" sldId="2147481982"/>
            <ac:spMk id="18" creationId="{B8EA7805-296B-5D47-944C-D538156BAD89}"/>
          </ac:spMkLst>
        </pc:spChg>
        <pc:spChg chg="del">
          <ac:chgData name="Sindija Kirsteine (LV)" userId="5f25501a-2215-4bb3-9d9c-8d1484ffa7c1" providerId="ADAL" clId="{5C659B16-48DB-453B-907A-8EA353AF644C}" dt="2024-06-26T11:32:36.474" v="237" actId="478"/>
          <ac:spMkLst>
            <pc:docMk/>
            <pc:sldMk cId="2214180997" sldId="2147481982"/>
            <ac:spMk id="19" creationId="{C0C5A184-30D0-DA46-BFBE-D02A00834DD6}"/>
          </ac:spMkLst>
        </pc:spChg>
        <pc:spChg chg="mod">
          <ac:chgData name="Sindija Kirsteine (LV)" userId="5f25501a-2215-4bb3-9d9c-8d1484ffa7c1" providerId="ADAL" clId="{5C659B16-48DB-453B-907A-8EA353AF644C}" dt="2024-06-26T11:36:07.430" v="472" actId="20577"/>
          <ac:spMkLst>
            <pc:docMk/>
            <pc:sldMk cId="2214180997" sldId="2147481982"/>
            <ac:spMk id="20" creationId="{A4EAD244-3E35-CF16-9610-C9DD5B3A3D07}"/>
          </ac:spMkLst>
        </pc:spChg>
        <pc:spChg chg="del">
          <ac:chgData name="Sindija Kirsteine (LV)" userId="5f25501a-2215-4bb3-9d9c-8d1484ffa7c1" providerId="ADAL" clId="{5C659B16-48DB-453B-907A-8EA353AF644C}" dt="2024-06-26T11:34:48.947" v="447" actId="478"/>
          <ac:spMkLst>
            <pc:docMk/>
            <pc:sldMk cId="2214180997" sldId="2147481982"/>
            <ac:spMk id="21" creationId="{B3BACB13-7F5F-7706-5C2F-1B17B9E4C0A1}"/>
          </ac:spMkLst>
        </pc:spChg>
        <pc:spChg chg="del">
          <ac:chgData name="Sindija Kirsteine (LV)" userId="5f25501a-2215-4bb3-9d9c-8d1484ffa7c1" providerId="ADAL" clId="{5C659B16-48DB-453B-907A-8EA353AF644C}" dt="2024-06-26T11:34:48.947" v="447" actId="478"/>
          <ac:spMkLst>
            <pc:docMk/>
            <pc:sldMk cId="2214180997" sldId="2147481982"/>
            <ac:spMk id="22" creationId="{23636E8D-78E7-BF51-1737-96A4E2EF4240}"/>
          </ac:spMkLst>
        </pc:spChg>
        <pc:spChg chg="mod">
          <ac:chgData name="Sindija Kirsteine (LV)" userId="5f25501a-2215-4bb3-9d9c-8d1484ffa7c1" providerId="ADAL" clId="{5C659B16-48DB-453B-907A-8EA353AF644C}" dt="2024-06-26T11:32:47.429" v="239" actId="14100"/>
          <ac:spMkLst>
            <pc:docMk/>
            <pc:sldMk cId="2214180997" sldId="2147481982"/>
            <ac:spMk id="40" creationId="{0397F1B3-1DAC-781B-5BE5-08FA024DC19C}"/>
          </ac:spMkLst>
        </pc:spChg>
        <pc:spChg chg="mod">
          <ac:chgData name="Sindija Kirsteine (LV)" userId="5f25501a-2215-4bb3-9d9c-8d1484ffa7c1" providerId="ADAL" clId="{5C659B16-48DB-453B-907A-8EA353AF644C}" dt="2024-06-26T11:32:51.663" v="240" actId="14100"/>
          <ac:spMkLst>
            <pc:docMk/>
            <pc:sldMk cId="2214180997" sldId="2147481982"/>
            <ac:spMk id="41" creationId="{66A14158-E11A-E312-8696-ADD9D0E04629}"/>
          </ac:spMkLst>
        </pc:spChg>
        <pc:spChg chg="mod">
          <ac:chgData name="Sindija Kirsteine (LV)" userId="5f25501a-2215-4bb3-9d9c-8d1484ffa7c1" providerId="ADAL" clId="{5C659B16-48DB-453B-907A-8EA353AF644C}" dt="2024-06-26T11:33:02.667" v="241" actId="14100"/>
          <ac:spMkLst>
            <pc:docMk/>
            <pc:sldMk cId="2214180997" sldId="2147481982"/>
            <ac:spMk id="42" creationId="{986F6EBD-76CF-AA8A-DC11-0900DE8A8EB0}"/>
          </ac:spMkLst>
        </pc:spChg>
        <pc:spChg chg="add del mod">
          <ac:chgData name="Sindija Kirsteine (LV)" userId="5f25501a-2215-4bb3-9d9c-8d1484ffa7c1" providerId="ADAL" clId="{5C659B16-48DB-453B-907A-8EA353AF644C}" dt="2024-06-26T11:35:37.571" v="468" actId="478"/>
          <ac:spMkLst>
            <pc:docMk/>
            <pc:sldMk cId="2214180997" sldId="2147481982"/>
            <ac:spMk id="50" creationId="{1E384B44-88CC-8F76-E9AF-DBDBDD24EECE}"/>
          </ac:spMkLst>
        </pc:spChg>
        <pc:spChg chg="mod">
          <ac:chgData name="Sindija Kirsteine (LV)" userId="5f25501a-2215-4bb3-9d9c-8d1484ffa7c1" providerId="ADAL" clId="{5C659B16-48DB-453B-907A-8EA353AF644C}" dt="2024-06-26T11:32:42.805" v="238" actId="14100"/>
          <ac:spMkLst>
            <pc:docMk/>
            <pc:sldMk cId="2214180997" sldId="2147481982"/>
            <ac:spMk id="52" creationId="{54140961-D367-FFB1-E0FC-3F385487D472}"/>
          </ac:spMkLst>
        </pc:spChg>
        <pc:spChg chg="add del">
          <ac:chgData name="Sindija Kirsteine (LV)" userId="5f25501a-2215-4bb3-9d9c-8d1484ffa7c1" providerId="ADAL" clId="{5C659B16-48DB-453B-907A-8EA353AF644C}" dt="2024-06-26T11:35:37.571" v="468" actId="478"/>
          <ac:spMkLst>
            <pc:docMk/>
            <pc:sldMk cId="2214180997" sldId="2147481982"/>
            <ac:spMk id="61" creationId="{36EC9590-1EE1-4A70-E132-4F25FB2A166A}"/>
          </ac:spMkLst>
        </pc:spChg>
        <pc:spChg chg="add del">
          <ac:chgData name="Sindija Kirsteine (LV)" userId="5f25501a-2215-4bb3-9d9c-8d1484ffa7c1" providerId="ADAL" clId="{5C659B16-48DB-453B-907A-8EA353AF644C}" dt="2024-06-26T11:35:37.571" v="468" actId="478"/>
          <ac:spMkLst>
            <pc:docMk/>
            <pc:sldMk cId="2214180997" sldId="2147481982"/>
            <ac:spMk id="62" creationId="{2807FCC7-6EAD-0C0D-B605-03EEAC731F8C}"/>
          </ac:spMkLst>
        </pc:spChg>
        <pc:spChg chg="del">
          <ac:chgData name="Sindija Kirsteine (LV)" userId="5f25501a-2215-4bb3-9d9c-8d1484ffa7c1" providerId="ADAL" clId="{5C659B16-48DB-453B-907A-8EA353AF644C}" dt="2024-06-26T11:32:36.474" v="237" actId="478"/>
          <ac:spMkLst>
            <pc:docMk/>
            <pc:sldMk cId="2214180997" sldId="2147481982"/>
            <ac:spMk id="64" creationId="{C8839363-023E-6108-2610-F9869562BA65}"/>
          </ac:spMkLst>
        </pc:spChg>
        <pc:spChg chg="del">
          <ac:chgData name="Sindija Kirsteine (LV)" userId="5f25501a-2215-4bb3-9d9c-8d1484ffa7c1" providerId="ADAL" clId="{5C659B16-48DB-453B-907A-8EA353AF644C}" dt="2024-06-26T11:32:36.474" v="237" actId="478"/>
          <ac:spMkLst>
            <pc:docMk/>
            <pc:sldMk cId="2214180997" sldId="2147481982"/>
            <ac:spMk id="65" creationId="{6C9963BA-CB30-1A9A-495C-AC7D92B42F6A}"/>
          </ac:spMkLst>
        </pc:spChg>
        <pc:spChg chg="del">
          <ac:chgData name="Sindija Kirsteine (LV)" userId="5f25501a-2215-4bb3-9d9c-8d1484ffa7c1" providerId="ADAL" clId="{5C659B16-48DB-453B-907A-8EA353AF644C}" dt="2024-06-26T11:32:36.474" v="237" actId="478"/>
          <ac:spMkLst>
            <pc:docMk/>
            <pc:sldMk cId="2214180997" sldId="2147481982"/>
            <ac:spMk id="66" creationId="{F013B6EF-6664-55FA-8A95-9B25B931D676}"/>
          </ac:spMkLst>
        </pc:spChg>
        <pc:spChg chg="mod">
          <ac:chgData name="Sindija Kirsteine (LV)" userId="5f25501a-2215-4bb3-9d9c-8d1484ffa7c1" providerId="ADAL" clId="{5C659B16-48DB-453B-907A-8EA353AF644C}" dt="2024-06-26T12:07:37.869" v="1044" actId="20577"/>
          <ac:spMkLst>
            <pc:docMk/>
            <pc:sldMk cId="2214180997" sldId="2147481982"/>
            <ac:spMk id="68" creationId="{DC58C25F-8110-0C29-4A50-5DADA78B621C}"/>
          </ac:spMkLst>
        </pc:spChg>
        <pc:spChg chg="del">
          <ac:chgData name="Sindija Kirsteine (LV)" userId="5f25501a-2215-4bb3-9d9c-8d1484ffa7c1" providerId="ADAL" clId="{5C659B16-48DB-453B-907A-8EA353AF644C}" dt="2024-06-26T11:32:36.474" v="237" actId="478"/>
          <ac:spMkLst>
            <pc:docMk/>
            <pc:sldMk cId="2214180997" sldId="2147481982"/>
            <ac:spMk id="91" creationId="{923ED525-0203-6BC5-F3E8-8ABB7C0A1DD9}"/>
          </ac:spMkLst>
        </pc:spChg>
        <pc:spChg chg="del">
          <ac:chgData name="Sindija Kirsteine (LV)" userId="5f25501a-2215-4bb3-9d9c-8d1484ffa7c1" providerId="ADAL" clId="{5C659B16-48DB-453B-907A-8EA353AF644C}" dt="2024-06-26T11:32:36.474" v="237" actId="478"/>
          <ac:spMkLst>
            <pc:docMk/>
            <pc:sldMk cId="2214180997" sldId="2147481982"/>
            <ac:spMk id="92" creationId="{97672140-6C3A-9556-1AB0-06A807124770}"/>
          </ac:spMkLst>
        </pc:spChg>
        <pc:spChg chg="del">
          <ac:chgData name="Sindija Kirsteine (LV)" userId="5f25501a-2215-4bb3-9d9c-8d1484ffa7c1" providerId="ADAL" clId="{5C659B16-48DB-453B-907A-8EA353AF644C}" dt="2024-06-26T11:32:36.474" v="237" actId="478"/>
          <ac:spMkLst>
            <pc:docMk/>
            <pc:sldMk cId="2214180997" sldId="2147481982"/>
            <ac:spMk id="93" creationId="{D0E0A4D4-73EA-CBEB-4379-F0B1FF036634}"/>
          </ac:spMkLst>
        </pc:spChg>
        <pc:spChg chg="del">
          <ac:chgData name="Sindija Kirsteine (LV)" userId="5f25501a-2215-4bb3-9d9c-8d1484ffa7c1" providerId="ADAL" clId="{5C659B16-48DB-453B-907A-8EA353AF644C}" dt="2024-06-26T11:32:36.474" v="237" actId="478"/>
          <ac:spMkLst>
            <pc:docMk/>
            <pc:sldMk cId="2214180997" sldId="2147481982"/>
            <ac:spMk id="94" creationId="{1B45DCE4-892C-EC8B-4496-9FC8EDE7A80C}"/>
          </ac:spMkLst>
        </pc:spChg>
        <pc:spChg chg="del">
          <ac:chgData name="Sindija Kirsteine (LV)" userId="5f25501a-2215-4bb3-9d9c-8d1484ffa7c1" providerId="ADAL" clId="{5C659B16-48DB-453B-907A-8EA353AF644C}" dt="2024-06-26T11:32:36.474" v="237" actId="478"/>
          <ac:spMkLst>
            <pc:docMk/>
            <pc:sldMk cId="2214180997" sldId="2147481982"/>
            <ac:spMk id="95" creationId="{443FAA3C-0F7C-AD6B-CBF1-68825DEE28EF}"/>
          </ac:spMkLst>
        </pc:spChg>
        <pc:spChg chg="del">
          <ac:chgData name="Sindija Kirsteine (LV)" userId="5f25501a-2215-4bb3-9d9c-8d1484ffa7c1" providerId="ADAL" clId="{5C659B16-48DB-453B-907A-8EA353AF644C}" dt="2024-06-26T11:32:36.474" v="237" actId="478"/>
          <ac:spMkLst>
            <pc:docMk/>
            <pc:sldMk cId="2214180997" sldId="2147481982"/>
            <ac:spMk id="96" creationId="{F8E7CD43-EB84-01FE-1CF1-D4FC0D81A442}"/>
          </ac:spMkLst>
        </pc:spChg>
        <pc:grpChg chg="add del">
          <ac:chgData name="Sindija Kirsteine (LV)" userId="5f25501a-2215-4bb3-9d9c-8d1484ffa7c1" providerId="ADAL" clId="{5C659B16-48DB-453B-907A-8EA353AF644C}" dt="2024-06-26T11:35:37.571" v="468" actId="478"/>
          <ac:grpSpMkLst>
            <pc:docMk/>
            <pc:sldMk cId="2214180997" sldId="2147481982"/>
            <ac:grpSpMk id="23" creationId="{C55D8B85-A904-322C-FBFB-D30D8C2CA33E}"/>
          </ac:grpSpMkLst>
        </pc:grpChg>
        <pc:picChg chg="mod">
          <ac:chgData name="Sindija Kirsteine (LV)" userId="5f25501a-2215-4bb3-9d9c-8d1484ffa7c1" providerId="ADAL" clId="{5C659B16-48DB-453B-907A-8EA353AF644C}" dt="2024-06-26T11:20:27.022" v="138" actId="1076"/>
          <ac:picMkLst>
            <pc:docMk/>
            <pc:sldMk cId="2214180997" sldId="2147481982"/>
            <ac:picMk id="10" creationId="{A4A04257-2D57-8581-8FD0-4EC35D248D02}"/>
          </ac:picMkLst>
        </pc:picChg>
        <pc:cxnChg chg="mod">
          <ac:chgData name="Sindija Kirsteine (LV)" userId="5f25501a-2215-4bb3-9d9c-8d1484ffa7c1" providerId="ADAL" clId="{5C659B16-48DB-453B-907A-8EA353AF644C}" dt="2024-06-26T11:35:01.391" v="449" actId="14100"/>
          <ac:cxnSpMkLst>
            <pc:docMk/>
            <pc:sldMk cId="2214180997" sldId="2147481982"/>
            <ac:cxnSpMk id="6" creationId="{AA7A7FA2-43EB-E10E-9DB9-8125FF1E58FC}"/>
          </ac:cxnSpMkLst>
        </pc:cxnChg>
        <pc:cxnChg chg="del">
          <ac:chgData name="Sindija Kirsteine (LV)" userId="5f25501a-2215-4bb3-9d9c-8d1484ffa7c1" providerId="ADAL" clId="{5C659B16-48DB-453B-907A-8EA353AF644C}" dt="2024-06-26T11:32:36.474" v="237" actId="478"/>
          <ac:cxnSpMkLst>
            <pc:docMk/>
            <pc:sldMk cId="2214180997" sldId="2147481982"/>
            <ac:cxnSpMk id="12" creationId="{115247EA-EE3B-31EE-8D48-4898D35A3280}"/>
          </ac:cxnSpMkLst>
        </pc:cxnChg>
        <pc:cxnChg chg="del">
          <ac:chgData name="Sindija Kirsteine (LV)" userId="5f25501a-2215-4bb3-9d9c-8d1484ffa7c1" providerId="ADAL" clId="{5C659B16-48DB-453B-907A-8EA353AF644C}" dt="2024-06-26T11:32:36.474" v="237" actId="478"/>
          <ac:cxnSpMkLst>
            <pc:docMk/>
            <pc:sldMk cId="2214180997" sldId="2147481982"/>
            <ac:cxnSpMk id="13" creationId="{DBBAF735-721D-F52F-3F37-FEC03949D8CB}"/>
          </ac:cxnSpMkLst>
        </pc:cxnChg>
        <pc:cxnChg chg="mod">
          <ac:chgData name="Sindija Kirsteine (LV)" userId="5f25501a-2215-4bb3-9d9c-8d1484ffa7c1" providerId="ADAL" clId="{5C659B16-48DB-453B-907A-8EA353AF644C}" dt="2024-06-26T11:35:06.984" v="450" actId="14100"/>
          <ac:cxnSpMkLst>
            <pc:docMk/>
            <pc:sldMk cId="2214180997" sldId="2147481982"/>
            <ac:cxnSpMk id="15" creationId="{60508230-2256-BEAC-3F1B-1FBD12640BF7}"/>
          </ac:cxnSpMkLst>
        </pc:cxnChg>
        <pc:cxnChg chg="mod">
          <ac:chgData name="Sindija Kirsteine (LV)" userId="5f25501a-2215-4bb3-9d9c-8d1484ffa7c1" providerId="ADAL" clId="{5C659B16-48DB-453B-907A-8EA353AF644C}" dt="2024-06-26T11:35:19.625" v="452" actId="14100"/>
          <ac:cxnSpMkLst>
            <pc:docMk/>
            <pc:sldMk cId="2214180997" sldId="2147481982"/>
            <ac:cxnSpMk id="16" creationId="{1E7CC1BC-C16B-82D6-0EA2-3A181E8600F1}"/>
          </ac:cxnSpMkLst>
        </pc:cxnChg>
        <pc:cxnChg chg="del">
          <ac:chgData name="Sindija Kirsteine (LV)" userId="5f25501a-2215-4bb3-9d9c-8d1484ffa7c1" providerId="ADAL" clId="{5C659B16-48DB-453B-907A-8EA353AF644C}" dt="2024-06-26T11:32:36.474" v="237" actId="478"/>
          <ac:cxnSpMkLst>
            <pc:docMk/>
            <pc:sldMk cId="2214180997" sldId="2147481982"/>
            <ac:cxnSpMk id="55" creationId="{41BD9CB5-1387-FE6E-96DE-C1E83115FF49}"/>
          </ac:cxnSpMkLst>
        </pc:cxnChg>
        <pc:cxnChg chg="mod">
          <ac:chgData name="Sindija Kirsteine (LV)" userId="5f25501a-2215-4bb3-9d9c-8d1484ffa7c1" providerId="ADAL" clId="{5C659B16-48DB-453B-907A-8EA353AF644C}" dt="2024-06-26T11:34:55.944" v="448" actId="14100"/>
          <ac:cxnSpMkLst>
            <pc:docMk/>
            <pc:sldMk cId="2214180997" sldId="2147481982"/>
            <ac:cxnSpMk id="59" creationId="{7E500747-C848-E521-FDAE-12CD91281C7E}"/>
          </ac:cxnSpMkLst>
        </pc:cxnChg>
        <pc:cxnChg chg="del">
          <ac:chgData name="Sindija Kirsteine (LV)" userId="5f25501a-2215-4bb3-9d9c-8d1484ffa7c1" providerId="ADAL" clId="{5C659B16-48DB-453B-907A-8EA353AF644C}" dt="2024-06-26T11:32:36.474" v="237" actId="478"/>
          <ac:cxnSpMkLst>
            <pc:docMk/>
            <pc:sldMk cId="2214180997" sldId="2147481982"/>
            <ac:cxnSpMk id="60" creationId="{88D7CFA4-9630-9E6E-9558-B995D1763B49}"/>
          </ac:cxnSpMkLst>
        </pc:cxn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5C659B16-48DB-453B-907A-8EA353AF644C}" dt="2024-06-26T12:07:37.869" v="1044" actId="20577"/>
              <pc2:cmMkLst xmlns:pc2="http://schemas.microsoft.com/office/powerpoint/2019/9/main/command">
                <pc:docMk/>
                <pc:sldMk cId="2214180997" sldId="2147481982"/>
                <pc2:cmMk id="{C4AC9989-EF57-4649-B8EA-CA1106933571}"/>
              </pc2:cmMkLst>
            </pc226:cmChg>
          </p:ext>
        </pc:extLst>
      </pc:sldChg>
      <pc:sldChg chg="del delCm">
        <pc:chgData name="Sindija Kirsteine (LV)" userId="5f25501a-2215-4bb3-9d9c-8d1484ffa7c1" providerId="ADAL" clId="{5C659B16-48DB-453B-907A-8EA353AF644C}" dt="2024-07-01T06:57:32.019" v="1459" actId="2696"/>
        <pc:sldMkLst>
          <pc:docMk/>
          <pc:sldMk cId="820934104" sldId="2147481983"/>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5C659B16-48DB-453B-907A-8EA353AF644C}" dt="2024-07-01T06:57:21.515" v="1452"/>
              <pc2:cmMkLst xmlns:pc2="http://schemas.microsoft.com/office/powerpoint/2019/9/main/command">
                <pc:docMk/>
                <pc:sldMk cId="820934104" sldId="2147481983"/>
                <pc2:cmMk id="{A38640E4-D377-41CA-941E-C1C6823C8EB1}"/>
              </pc2:cmMkLst>
            </pc226:cmChg>
          </p:ext>
        </pc:extLst>
      </pc:sldChg>
      <pc:sldChg chg="addSp delSp modSp mod">
        <pc:chgData name="Sindija Kirsteine (LV)" userId="5f25501a-2215-4bb3-9d9c-8d1484ffa7c1" providerId="ADAL" clId="{5C659B16-48DB-453B-907A-8EA353AF644C}" dt="2024-06-26T12:18:17.017" v="1201" actId="478"/>
        <pc:sldMkLst>
          <pc:docMk/>
          <pc:sldMk cId="28118731" sldId="2147481984"/>
        </pc:sldMkLst>
        <pc:spChg chg="mod">
          <ac:chgData name="Sindija Kirsteine (LV)" userId="5f25501a-2215-4bb3-9d9c-8d1484ffa7c1" providerId="ADAL" clId="{5C659B16-48DB-453B-907A-8EA353AF644C}" dt="2024-06-26T12:16:33.647" v="1174" actId="14100"/>
          <ac:spMkLst>
            <pc:docMk/>
            <pc:sldMk cId="28118731" sldId="2147481984"/>
            <ac:spMk id="40" creationId="{0397F1B3-1DAC-781B-5BE5-08FA024DC19C}"/>
          </ac:spMkLst>
        </pc:spChg>
        <pc:spChg chg="del">
          <ac:chgData name="Sindija Kirsteine (LV)" userId="5f25501a-2215-4bb3-9d9c-8d1484ffa7c1" providerId="ADAL" clId="{5C659B16-48DB-453B-907A-8EA353AF644C}" dt="2024-06-26T12:16:19.033" v="1171" actId="478"/>
          <ac:spMkLst>
            <pc:docMk/>
            <pc:sldMk cId="28118731" sldId="2147481984"/>
            <ac:spMk id="65" creationId="{6C9963BA-CB30-1A9A-495C-AC7D92B42F6A}"/>
          </ac:spMkLst>
        </pc:spChg>
        <pc:spChg chg="del">
          <ac:chgData name="Sindija Kirsteine (LV)" userId="5f25501a-2215-4bb3-9d9c-8d1484ffa7c1" providerId="ADAL" clId="{5C659B16-48DB-453B-907A-8EA353AF644C}" dt="2024-06-26T12:16:29.289" v="1173" actId="478"/>
          <ac:spMkLst>
            <pc:docMk/>
            <pc:sldMk cId="28118731" sldId="2147481984"/>
            <ac:spMk id="93" creationId="{D0E0A4D4-73EA-CBEB-4379-F0B1FF036634}"/>
          </ac:spMkLst>
        </pc:spChg>
        <pc:spChg chg="del">
          <ac:chgData name="Sindija Kirsteine (LV)" userId="5f25501a-2215-4bb3-9d9c-8d1484ffa7c1" providerId="ADAL" clId="{5C659B16-48DB-453B-907A-8EA353AF644C}" dt="2024-06-26T12:16:26.488" v="1172" actId="478"/>
          <ac:spMkLst>
            <pc:docMk/>
            <pc:sldMk cId="28118731" sldId="2147481984"/>
            <ac:spMk id="94" creationId="{1B45DCE4-892C-EC8B-4496-9FC8EDE7A80C}"/>
          </ac:spMkLst>
        </pc:spChg>
        <pc:cxnChg chg="mod">
          <ac:chgData name="Sindija Kirsteine (LV)" userId="5f25501a-2215-4bb3-9d9c-8d1484ffa7c1" providerId="ADAL" clId="{5C659B16-48DB-453B-907A-8EA353AF644C}" dt="2024-06-26T12:17:55.380" v="1200" actId="14100"/>
          <ac:cxnSpMkLst>
            <pc:docMk/>
            <pc:sldMk cId="28118731" sldId="2147481984"/>
            <ac:cxnSpMk id="6" creationId="{AA7A7FA2-43EB-E10E-9DB9-8125FF1E58FC}"/>
          </ac:cxnSpMkLst>
        </pc:cxnChg>
        <pc:cxnChg chg="add del mod">
          <ac:chgData name="Sindija Kirsteine (LV)" userId="5f25501a-2215-4bb3-9d9c-8d1484ffa7c1" providerId="ADAL" clId="{5C659B16-48DB-453B-907A-8EA353AF644C}" dt="2024-06-26T12:18:17.017" v="1201" actId="478"/>
          <ac:cxnSpMkLst>
            <pc:docMk/>
            <pc:sldMk cId="28118731" sldId="2147481984"/>
            <ac:cxnSpMk id="11" creationId="{433CD4C0-7BDC-1CF2-D8FC-A2E952EE040B}"/>
          </ac:cxnSpMkLst>
        </pc:cxnChg>
        <pc:cxnChg chg="del">
          <ac:chgData name="Sindija Kirsteine (LV)" userId="5f25501a-2215-4bb3-9d9c-8d1484ffa7c1" providerId="ADAL" clId="{5C659B16-48DB-453B-907A-8EA353AF644C}" dt="2024-06-26T12:16:46.082" v="1175" actId="478"/>
          <ac:cxnSpMkLst>
            <pc:docMk/>
            <pc:sldMk cId="28118731" sldId="2147481984"/>
            <ac:cxnSpMk id="55" creationId="{41BD9CB5-1387-FE6E-96DE-C1E83115FF49}"/>
          </ac:cxnSpMkLst>
        </pc:cxnChg>
        <pc:cxnChg chg="mod">
          <ac:chgData name="Sindija Kirsteine (LV)" userId="5f25501a-2215-4bb3-9d9c-8d1484ffa7c1" providerId="ADAL" clId="{5C659B16-48DB-453B-907A-8EA353AF644C}" dt="2024-06-26T12:17:29.259" v="1198" actId="14100"/>
          <ac:cxnSpMkLst>
            <pc:docMk/>
            <pc:sldMk cId="28118731" sldId="2147481984"/>
            <ac:cxnSpMk id="59" creationId="{7E500747-C848-E521-FDAE-12CD91281C7E}"/>
          </ac:cxnSpMkLst>
        </pc:cxnChg>
        <pc:cxnChg chg="del">
          <ac:chgData name="Sindija Kirsteine (LV)" userId="5f25501a-2215-4bb3-9d9c-8d1484ffa7c1" providerId="ADAL" clId="{5C659B16-48DB-453B-907A-8EA353AF644C}" dt="2024-06-26T12:17:47.710" v="1199" actId="478"/>
          <ac:cxnSpMkLst>
            <pc:docMk/>
            <pc:sldMk cId="28118731" sldId="2147481984"/>
            <ac:cxnSpMk id="60" creationId="{88D7CFA4-9630-9E6E-9558-B995D1763B49}"/>
          </ac:cxnSpMkLst>
        </pc:cxnChg>
      </pc:sldChg>
      <pc:sldChg chg="delSp mod">
        <pc:chgData name="Sindija Kirsteine (LV)" userId="5f25501a-2215-4bb3-9d9c-8d1484ffa7c1" providerId="ADAL" clId="{5C659B16-48DB-453B-907A-8EA353AF644C}" dt="2024-06-26T12:22:12.952" v="1261" actId="478"/>
        <pc:sldMkLst>
          <pc:docMk/>
          <pc:sldMk cId="802236342" sldId="2147481991"/>
        </pc:sldMkLst>
        <pc:spChg chg="del">
          <ac:chgData name="Sindija Kirsteine (LV)" userId="5f25501a-2215-4bb3-9d9c-8d1484ffa7c1" providerId="ADAL" clId="{5C659B16-48DB-453B-907A-8EA353AF644C}" dt="2024-06-26T12:22:12.952" v="1261" actId="478"/>
          <ac:spMkLst>
            <pc:docMk/>
            <pc:sldMk cId="802236342" sldId="2147481991"/>
            <ac:spMk id="19" creationId="{331005CD-BD66-548F-8C12-DD2238A4B3D6}"/>
          </ac:spMkLst>
        </pc:spChg>
        <pc:spChg chg="del">
          <ac:chgData name="Sindija Kirsteine (LV)" userId="5f25501a-2215-4bb3-9d9c-8d1484ffa7c1" providerId="ADAL" clId="{5C659B16-48DB-453B-907A-8EA353AF644C}" dt="2024-06-26T12:22:09.967" v="1260" actId="478"/>
          <ac:spMkLst>
            <pc:docMk/>
            <pc:sldMk cId="802236342" sldId="2147481991"/>
            <ac:spMk id="95" creationId="{22D4B225-D47B-7BF9-C1B5-24859137C3E4}"/>
          </ac:spMkLst>
        </pc:spChg>
      </pc:sldChg>
      <pc:sldChg chg="delSp mod">
        <pc:chgData name="Sindija Kirsteine (LV)" userId="5f25501a-2215-4bb3-9d9c-8d1484ffa7c1" providerId="ADAL" clId="{5C659B16-48DB-453B-907A-8EA353AF644C}" dt="2024-06-26T12:26:52.610" v="1353" actId="478"/>
        <pc:sldMkLst>
          <pc:docMk/>
          <pc:sldMk cId="1613844391" sldId="2147481992"/>
        </pc:sldMkLst>
        <pc:spChg chg="del">
          <ac:chgData name="Sindija Kirsteine (LV)" userId="5f25501a-2215-4bb3-9d9c-8d1484ffa7c1" providerId="ADAL" clId="{5C659B16-48DB-453B-907A-8EA353AF644C}" dt="2024-06-26T11:50:20.896" v="817" actId="478"/>
          <ac:spMkLst>
            <pc:docMk/>
            <pc:sldMk cId="1613844391" sldId="2147481992"/>
            <ac:spMk id="50" creationId="{2BDE8E25-08A2-0F4A-11D7-F0C39579356F}"/>
          </ac:spMkLst>
        </pc:spChg>
        <pc:spChg chg="del">
          <ac:chgData name="Sindija Kirsteine (LV)" userId="5f25501a-2215-4bb3-9d9c-8d1484ffa7c1" providerId="ADAL" clId="{5C659B16-48DB-453B-907A-8EA353AF644C}" dt="2024-06-26T12:26:52.610" v="1353" actId="478"/>
          <ac:spMkLst>
            <pc:docMk/>
            <pc:sldMk cId="1613844391" sldId="2147481992"/>
            <ac:spMk id="62" creationId="{AC4CBC7F-BE8C-AD23-49B4-F897E24C8B0B}"/>
          </ac:spMkLst>
        </pc:spChg>
      </pc:sldChg>
      <pc:sldChg chg="addSp delSp modSp mod modCm">
        <pc:chgData name="Sindija Kirsteine (LV)" userId="5f25501a-2215-4bb3-9d9c-8d1484ffa7c1" providerId="ADAL" clId="{5C659B16-48DB-453B-907A-8EA353AF644C}" dt="2024-06-26T12:00:23.497" v="944" actId="20577"/>
        <pc:sldMkLst>
          <pc:docMk/>
          <pc:sldMk cId="1791248831" sldId="2147482012"/>
        </pc:sldMkLst>
        <pc:spChg chg="mod">
          <ac:chgData name="Sindija Kirsteine (LV)" userId="5f25501a-2215-4bb3-9d9c-8d1484ffa7c1" providerId="ADAL" clId="{5C659B16-48DB-453B-907A-8EA353AF644C}" dt="2024-06-26T12:00:23.497" v="944" actId="20577"/>
          <ac:spMkLst>
            <pc:docMk/>
            <pc:sldMk cId="1791248831" sldId="2147482012"/>
            <ac:spMk id="2" creationId="{EC47296D-9568-ED7D-0457-80174E2BF2F8}"/>
          </ac:spMkLst>
        </pc:spChg>
        <pc:spChg chg="del">
          <ac:chgData name="Sindija Kirsteine (LV)" userId="5f25501a-2215-4bb3-9d9c-8d1484ffa7c1" providerId="ADAL" clId="{5C659B16-48DB-453B-907A-8EA353AF644C}" dt="2024-06-26T11:42:08.102" v="537" actId="478"/>
          <ac:spMkLst>
            <pc:docMk/>
            <pc:sldMk cId="1791248831" sldId="2147482012"/>
            <ac:spMk id="3" creationId="{F069EE7B-6A38-C785-FC7A-278D3C49107A}"/>
          </ac:spMkLst>
        </pc:spChg>
        <pc:spChg chg="add del mod">
          <ac:chgData name="Sindija Kirsteine (LV)" userId="5f25501a-2215-4bb3-9d9c-8d1484ffa7c1" providerId="ADAL" clId="{5C659B16-48DB-453B-907A-8EA353AF644C}" dt="2024-06-26T11:40:37.290" v="500" actId="478"/>
          <ac:spMkLst>
            <pc:docMk/>
            <pc:sldMk cId="1791248831" sldId="2147482012"/>
            <ac:spMk id="4" creationId="{EE33BC2E-445D-353D-DEF3-07AF4ABBDF8F}"/>
          </ac:spMkLst>
        </pc:spChg>
        <pc:spChg chg="del">
          <ac:chgData name="Sindija Kirsteine (LV)" userId="5f25501a-2215-4bb3-9d9c-8d1484ffa7c1" providerId="ADAL" clId="{5C659B16-48DB-453B-907A-8EA353AF644C}" dt="2024-06-26T11:39:55.050" v="488" actId="478"/>
          <ac:spMkLst>
            <pc:docMk/>
            <pc:sldMk cId="1791248831" sldId="2147482012"/>
            <ac:spMk id="24" creationId="{09C2CCCC-B4A3-9533-7C1A-4E7B99F19AB0}"/>
          </ac:spMkLst>
        </pc:spChg>
        <pc:spChg chg="del">
          <ac:chgData name="Sindija Kirsteine (LV)" userId="5f25501a-2215-4bb3-9d9c-8d1484ffa7c1" providerId="ADAL" clId="{5C659B16-48DB-453B-907A-8EA353AF644C}" dt="2024-06-26T11:39:55.050" v="488" actId="478"/>
          <ac:spMkLst>
            <pc:docMk/>
            <pc:sldMk cId="1791248831" sldId="2147482012"/>
            <ac:spMk id="26" creationId="{F0CB5772-83FD-A70A-A885-67FCEEE49754}"/>
          </ac:spMkLst>
        </pc:spChg>
        <pc:spChg chg="del">
          <ac:chgData name="Sindija Kirsteine (LV)" userId="5f25501a-2215-4bb3-9d9c-8d1484ffa7c1" providerId="ADAL" clId="{5C659B16-48DB-453B-907A-8EA353AF644C}" dt="2024-06-26T11:39:55.050" v="488" actId="478"/>
          <ac:spMkLst>
            <pc:docMk/>
            <pc:sldMk cId="1791248831" sldId="2147482012"/>
            <ac:spMk id="28" creationId="{1F89E490-78F7-A46F-F02C-AF67D0B5CD2A}"/>
          </ac:spMkLst>
        </pc:spChg>
        <pc:spChg chg="mod">
          <ac:chgData name="Sindija Kirsteine (LV)" userId="5f25501a-2215-4bb3-9d9c-8d1484ffa7c1" providerId="ADAL" clId="{5C659B16-48DB-453B-907A-8EA353AF644C}" dt="2024-06-26T11:48:18.433" v="797" actId="403"/>
          <ac:spMkLst>
            <pc:docMk/>
            <pc:sldMk cId="1791248831" sldId="2147482012"/>
            <ac:spMk id="33" creationId="{A9EA678B-1C92-D1EC-5EF2-97D0A4907E68}"/>
          </ac:spMkLst>
        </pc:spChg>
        <pc:spChg chg="del">
          <ac:chgData name="Sindija Kirsteine (LV)" userId="5f25501a-2215-4bb3-9d9c-8d1484ffa7c1" providerId="ADAL" clId="{5C659B16-48DB-453B-907A-8EA353AF644C}" dt="2024-06-26T11:39:55.050" v="488" actId="478"/>
          <ac:spMkLst>
            <pc:docMk/>
            <pc:sldMk cId="1791248831" sldId="2147482012"/>
            <ac:spMk id="35" creationId="{195A68F4-D954-A1C0-A647-42A436D9BC2B}"/>
          </ac:spMkLst>
        </pc:spChg>
        <pc:spChg chg="del">
          <ac:chgData name="Sindija Kirsteine (LV)" userId="5f25501a-2215-4bb3-9d9c-8d1484ffa7c1" providerId="ADAL" clId="{5C659B16-48DB-453B-907A-8EA353AF644C}" dt="2024-06-26T11:39:55.050" v="488" actId="478"/>
          <ac:spMkLst>
            <pc:docMk/>
            <pc:sldMk cId="1791248831" sldId="2147482012"/>
            <ac:spMk id="36" creationId="{3C145E88-345E-DEB9-9ABA-4CC30EEE55EB}"/>
          </ac:spMkLst>
        </pc:spChg>
        <pc:spChg chg="del">
          <ac:chgData name="Sindija Kirsteine (LV)" userId="5f25501a-2215-4bb3-9d9c-8d1484ffa7c1" providerId="ADAL" clId="{5C659B16-48DB-453B-907A-8EA353AF644C}" dt="2024-06-26T11:39:55.050" v="488" actId="478"/>
          <ac:spMkLst>
            <pc:docMk/>
            <pc:sldMk cId="1791248831" sldId="2147482012"/>
            <ac:spMk id="47" creationId="{DE28A1F8-05E1-2D2E-5F4B-FFE030D33C0D}"/>
          </ac:spMkLst>
        </pc:spChg>
        <pc:spChg chg="del">
          <ac:chgData name="Sindija Kirsteine (LV)" userId="5f25501a-2215-4bb3-9d9c-8d1484ffa7c1" providerId="ADAL" clId="{5C659B16-48DB-453B-907A-8EA353AF644C}" dt="2024-06-26T11:39:55.050" v="488" actId="478"/>
          <ac:spMkLst>
            <pc:docMk/>
            <pc:sldMk cId="1791248831" sldId="2147482012"/>
            <ac:spMk id="49" creationId="{6E207265-F4E8-6EAA-ED4A-AD1C8A0CAA77}"/>
          </ac:spMkLst>
        </pc:spChg>
        <pc:spChg chg="del">
          <ac:chgData name="Sindija Kirsteine (LV)" userId="5f25501a-2215-4bb3-9d9c-8d1484ffa7c1" providerId="ADAL" clId="{5C659B16-48DB-453B-907A-8EA353AF644C}" dt="2024-06-26T11:39:17.166" v="486" actId="478"/>
          <ac:spMkLst>
            <pc:docMk/>
            <pc:sldMk cId="1791248831" sldId="2147482012"/>
            <ac:spMk id="50" creationId="{1E384B44-88CC-8F76-E9AF-DBDBDD24EECE}"/>
          </ac:spMkLst>
        </pc:spChg>
        <pc:spChg chg="del">
          <ac:chgData name="Sindija Kirsteine (LV)" userId="5f25501a-2215-4bb3-9d9c-8d1484ffa7c1" providerId="ADAL" clId="{5C659B16-48DB-453B-907A-8EA353AF644C}" dt="2024-06-26T11:39:55.050" v="488" actId="478"/>
          <ac:spMkLst>
            <pc:docMk/>
            <pc:sldMk cId="1791248831" sldId="2147482012"/>
            <ac:spMk id="51" creationId="{459753F3-41F3-63B5-45E4-F3B58708C5B6}"/>
          </ac:spMkLst>
        </pc:spChg>
        <pc:spChg chg="del">
          <ac:chgData name="Sindija Kirsteine (LV)" userId="5f25501a-2215-4bb3-9d9c-8d1484ffa7c1" providerId="ADAL" clId="{5C659B16-48DB-453B-907A-8EA353AF644C}" dt="2024-06-26T11:39:55.050" v="488" actId="478"/>
          <ac:spMkLst>
            <pc:docMk/>
            <pc:sldMk cId="1791248831" sldId="2147482012"/>
            <ac:spMk id="53" creationId="{712D0EB1-E85C-E87E-4F8A-F91F9B547B85}"/>
          </ac:spMkLst>
        </pc:spChg>
        <pc:spChg chg="del">
          <ac:chgData name="Sindija Kirsteine (LV)" userId="5f25501a-2215-4bb3-9d9c-8d1484ffa7c1" providerId="ADAL" clId="{5C659B16-48DB-453B-907A-8EA353AF644C}" dt="2024-06-26T11:39:17.166" v="486" actId="478"/>
          <ac:spMkLst>
            <pc:docMk/>
            <pc:sldMk cId="1791248831" sldId="2147482012"/>
            <ac:spMk id="61" creationId="{36EC9590-1EE1-4A70-E132-4F25FB2A166A}"/>
          </ac:spMkLst>
        </pc:spChg>
        <pc:spChg chg="del">
          <ac:chgData name="Sindija Kirsteine (LV)" userId="5f25501a-2215-4bb3-9d9c-8d1484ffa7c1" providerId="ADAL" clId="{5C659B16-48DB-453B-907A-8EA353AF644C}" dt="2024-06-26T11:39:17.166" v="486" actId="478"/>
          <ac:spMkLst>
            <pc:docMk/>
            <pc:sldMk cId="1791248831" sldId="2147482012"/>
            <ac:spMk id="62" creationId="{2807FCC7-6EAD-0C0D-B605-03EEAC731F8C}"/>
          </ac:spMkLst>
        </pc:spChg>
        <pc:spChg chg="mod">
          <ac:chgData name="Sindija Kirsteine (LV)" userId="5f25501a-2215-4bb3-9d9c-8d1484ffa7c1" providerId="ADAL" clId="{5C659B16-48DB-453B-907A-8EA353AF644C}" dt="2024-06-26T11:42:00.331" v="533" actId="20577"/>
          <ac:spMkLst>
            <pc:docMk/>
            <pc:sldMk cId="1791248831" sldId="2147482012"/>
            <ac:spMk id="68" creationId="{DC58C25F-8110-0C29-4A50-5DADA78B621C}"/>
          </ac:spMkLst>
        </pc:spChg>
        <pc:spChg chg="mod">
          <ac:chgData name="Sindija Kirsteine (LV)" userId="5f25501a-2215-4bb3-9d9c-8d1484ffa7c1" providerId="ADAL" clId="{5C659B16-48DB-453B-907A-8EA353AF644C}" dt="2024-06-26T11:48:08.102" v="792" actId="403"/>
          <ac:spMkLst>
            <pc:docMk/>
            <pc:sldMk cId="1791248831" sldId="2147482012"/>
            <ac:spMk id="75" creationId="{AB24C0B9-0E0F-E3B2-1237-5CBEE719A1F1}"/>
          </ac:spMkLst>
        </pc:spChg>
        <pc:spChg chg="mod">
          <ac:chgData name="Sindija Kirsteine (LV)" userId="5f25501a-2215-4bb3-9d9c-8d1484ffa7c1" providerId="ADAL" clId="{5C659B16-48DB-453B-907A-8EA353AF644C}" dt="2024-06-26T11:48:10.132" v="793" actId="403"/>
          <ac:spMkLst>
            <pc:docMk/>
            <pc:sldMk cId="1791248831" sldId="2147482012"/>
            <ac:spMk id="76" creationId="{8793B610-11BB-3DD5-343E-D5A1842E54DF}"/>
          </ac:spMkLst>
        </pc:spChg>
        <pc:spChg chg="mod">
          <ac:chgData name="Sindija Kirsteine (LV)" userId="5f25501a-2215-4bb3-9d9c-8d1484ffa7c1" providerId="ADAL" clId="{5C659B16-48DB-453B-907A-8EA353AF644C}" dt="2024-06-26T11:48:12.366" v="794" actId="403"/>
          <ac:spMkLst>
            <pc:docMk/>
            <pc:sldMk cId="1791248831" sldId="2147482012"/>
            <ac:spMk id="77" creationId="{7507519A-1DE4-B47D-BFBC-5EC74A788B23}"/>
          </ac:spMkLst>
        </pc:spChg>
        <pc:spChg chg="mod">
          <ac:chgData name="Sindija Kirsteine (LV)" userId="5f25501a-2215-4bb3-9d9c-8d1484ffa7c1" providerId="ADAL" clId="{5C659B16-48DB-453B-907A-8EA353AF644C}" dt="2024-06-26T11:48:14.555" v="795" actId="403"/>
          <ac:spMkLst>
            <pc:docMk/>
            <pc:sldMk cId="1791248831" sldId="2147482012"/>
            <ac:spMk id="99" creationId="{805B5EBD-6AAC-3E2E-7379-47BAFD8ABB47}"/>
          </ac:spMkLst>
        </pc:spChg>
        <pc:spChg chg="mod">
          <ac:chgData name="Sindija Kirsteine (LV)" userId="5f25501a-2215-4bb3-9d9c-8d1484ffa7c1" providerId="ADAL" clId="{5C659B16-48DB-453B-907A-8EA353AF644C}" dt="2024-06-26T11:48:16.495" v="796" actId="403"/>
          <ac:spMkLst>
            <pc:docMk/>
            <pc:sldMk cId="1791248831" sldId="2147482012"/>
            <ac:spMk id="100" creationId="{8413921A-9F50-D135-DB2F-4735F1AD43FB}"/>
          </ac:spMkLst>
        </pc:spChg>
        <pc:grpChg chg="del">
          <ac:chgData name="Sindija Kirsteine (LV)" userId="5f25501a-2215-4bb3-9d9c-8d1484ffa7c1" providerId="ADAL" clId="{5C659B16-48DB-453B-907A-8EA353AF644C}" dt="2024-06-26T11:39:17.166" v="486" actId="478"/>
          <ac:grpSpMkLst>
            <pc:docMk/>
            <pc:sldMk cId="1791248831" sldId="2147482012"/>
            <ac:grpSpMk id="113" creationId="{BD0AAD21-B620-BE2C-26F6-12331A646B63}"/>
          </ac:grpSpMkLst>
        </pc:grpChg>
        <pc:grpChg chg="mod">
          <ac:chgData name="Sindija Kirsteine (LV)" userId="5f25501a-2215-4bb3-9d9c-8d1484ffa7c1" providerId="ADAL" clId="{5C659B16-48DB-453B-907A-8EA353AF644C}" dt="2024-06-26T11:40:07.331" v="489" actId="1076"/>
          <ac:grpSpMkLst>
            <pc:docMk/>
            <pc:sldMk cId="1791248831" sldId="2147482012"/>
            <ac:grpSpMk id="124" creationId="{22B6A670-1167-6234-3E64-FBCDAC877C22}"/>
          </ac:grpSpMkLst>
        </pc:grpChg>
        <pc:grpChg chg="mod">
          <ac:chgData name="Sindija Kirsteine (LV)" userId="5f25501a-2215-4bb3-9d9c-8d1484ffa7c1" providerId="ADAL" clId="{5C659B16-48DB-453B-907A-8EA353AF644C}" dt="2024-06-26T11:40:07.331" v="489" actId="1076"/>
          <ac:grpSpMkLst>
            <pc:docMk/>
            <pc:sldMk cId="1791248831" sldId="2147482012"/>
            <ac:grpSpMk id="125" creationId="{4387D8E0-B165-2634-3E99-8098AC5D0AAE}"/>
          </ac:grpSpMkLst>
        </pc:grpChg>
        <pc:grpChg chg="mod">
          <ac:chgData name="Sindija Kirsteine (LV)" userId="5f25501a-2215-4bb3-9d9c-8d1484ffa7c1" providerId="ADAL" clId="{5C659B16-48DB-453B-907A-8EA353AF644C}" dt="2024-06-26T11:40:07.331" v="489" actId="1076"/>
          <ac:grpSpMkLst>
            <pc:docMk/>
            <pc:sldMk cId="1791248831" sldId="2147482012"/>
            <ac:grpSpMk id="126" creationId="{25B24E43-5F6C-2205-6F27-C9A8304F80E4}"/>
          </ac:grpSpMkLst>
        </pc:grpChg>
        <pc:grpChg chg="mod">
          <ac:chgData name="Sindija Kirsteine (LV)" userId="5f25501a-2215-4bb3-9d9c-8d1484ffa7c1" providerId="ADAL" clId="{5C659B16-48DB-453B-907A-8EA353AF644C}" dt="2024-06-26T11:40:07.331" v="489" actId="1076"/>
          <ac:grpSpMkLst>
            <pc:docMk/>
            <pc:sldMk cId="1791248831" sldId="2147482012"/>
            <ac:grpSpMk id="127" creationId="{A9187C67-83D0-9053-644E-EA9705E689B3}"/>
          </ac:grpSpMkLst>
        </pc:grpChg>
        <pc:grpChg chg="mod">
          <ac:chgData name="Sindija Kirsteine (LV)" userId="5f25501a-2215-4bb3-9d9c-8d1484ffa7c1" providerId="ADAL" clId="{5C659B16-48DB-453B-907A-8EA353AF644C}" dt="2024-06-26T11:40:07.331" v="489" actId="1076"/>
          <ac:grpSpMkLst>
            <pc:docMk/>
            <pc:sldMk cId="1791248831" sldId="2147482012"/>
            <ac:grpSpMk id="128" creationId="{7EA9234F-4081-9D78-360F-4BB6F2EDDCBE}"/>
          </ac:grpSpMkLst>
        </pc:grpChg>
        <pc:grpChg chg="mod">
          <ac:chgData name="Sindija Kirsteine (LV)" userId="5f25501a-2215-4bb3-9d9c-8d1484ffa7c1" providerId="ADAL" clId="{5C659B16-48DB-453B-907A-8EA353AF644C}" dt="2024-06-26T11:40:07.331" v="489" actId="1076"/>
          <ac:grpSpMkLst>
            <pc:docMk/>
            <pc:sldMk cId="1791248831" sldId="2147482012"/>
            <ac:grpSpMk id="129" creationId="{3A1FB8DB-BEBA-9531-B60F-20C3F132CF2F}"/>
          </ac:grpSpMkLst>
        </pc:grpChg>
        <pc:cxnChg chg="add del mod">
          <ac:chgData name="Sindija Kirsteine (LV)" userId="5f25501a-2215-4bb3-9d9c-8d1484ffa7c1" providerId="ADAL" clId="{5C659B16-48DB-453B-907A-8EA353AF644C}" dt="2024-06-26T11:48:54.042" v="806" actId="478"/>
          <ac:cxnSpMkLst>
            <pc:docMk/>
            <pc:sldMk cId="1791248831" sldId="2147482012"/>
            <ac:cxnSpMk id="6" creationId="{565DEA0C-C4AE-073B-846A-625266E200E9}"/>
          </ac:cxnSpMkLst>
        </pc:cxnChg>
        <pc:cxnChg chg="del">
          <ac:chgData name="Sindija Kirsteine (LV)" userId="5f25501a-2215-4bb3-9d9c-8d1484ffa7c1" providerId="ADAL" clId="{5C659B16-48DB-453B-907A-8EA353AF644C}" dt="2024-06-26T11:39:55.050" v="488" actId="478"/>
          <ac:cxnSpMkLst>
            <pc:docMk/>
            <pc:sldMk cId="1791248831" sldId="2147482012"/>
            <ac:cxnSpMk id="29" creationId="{4BBC05D7-CB5F-7B1D-9CC7-D35C7404EC4C}"/>
          </ac:cxnSpMkLst>
        </pc:cxnChg>
        <pc:cxnChg chg="del">
          <ac:chgData name="Sindija Kirsteine (LV)" userId="5f25501a-2215-4bb3-9d9c-8d1484ffa7c1" providerId="ADAL" clId="{5C659B16-48DB-453B-907A-8EA353AF644C}" dt="2024-06-26T11:39:55.050" v="488" actId="478"/>
          <ac:cxnSpMkLst>
            <pc:docMk/>
            <pc:sldMk cId="1791248831" sldId="2147482012"/>
            <ac:cxnSpMk id="30" creationId="{A9BDFD01-2873-88E2-665B-A15782C2DE16}"/>
          </ac:cxnSpMkLst>
        </pc:cxnChg>
        <pc:cxnChg chg="mod">
          <ac:chgData name="Sindija Kirsteine (LV)" userId="5f25501a-2215-4bb3-9d9c-8d1484ffa7c1" providerId="ADAL" clId="{5C659B16-48DB-453B-907A-8EA353AF644C}" dt="2024-06-26T11:45:08.155" v="589" actId="1076"/>
          <ac:cxnSpMkLst>
            <pc:docMk/>
            <pc:sldMk cId="1791248831" sldId="2147482012"/>
            <ac:cxnSpMk id="71" creationId="{2D44A2E0-D428-5D56-66C4-E6041127AEF8}"/>
          </ac:cxnSpMkLst>
        </pc:cxnChg>
        <pc:cxnChg chg="mod">
          <ac:chgData name="Sindija Kirsteine (LV)" userId="5f25501a-2215-4bb3-9d9c-8d1484ffa7c1" providerId="ADAL" clId="{5C659B16-48DB-453B-907A-8EA353AF644C}" dt="2024-06-26T11:45:33.180" v="591" actId="1076"/>
          <ac:cxnSpMkLst>
            <pc:docMk/>
            <pc:sldMk cId="1791248831" sldId="2147482012"/>
            <ac:cxnSpMk id="74" creationId="{A4A77D43-393C-B7CA-2B9C-8F1B47DAF62D}"/>
          </ac:cxnSpMkLst>
        </pc:cxnChg>
        <pc:cxnChg chg="mod">
          <ac:chgData name="Sindija Kirsteine (LV)" userId="5f25501a-2215-4bb3-9d9c-8d1484ffa7c1" providerId="ADAL" clId="{5C659B16-48DB-453B-907A-8EA353AF644C}" dt="2024-06-26T11:46:43.897" v="646" actId="1076"/>
          <ac:cxnSpMkLst>
            <pc:docMk/>
            <pc:sldMk cId="1791248831" sldId="2147482012"/>
            <ac:cxnSpMk id="88" creationId="{8CBAC38D-E058-DAFB-20AD-BB4ADE12F0C6}"/>
          </ac:cxnSpMkLst>
        </pc:cxnChg>
        <pc:cxnChg chg="mod">
          <ac:chgData name="Sindija Kirsteine (LV)" userId="5f25501a-2215-4bb3-9d9c-8d1484ffa7c1" providerId="ADAL" clId="{5C659B16-48DB-453B-907A-8EA353AF644C}" dt="2024-06-26T11:47:51.391" v="788" actId="1076"/>
          <ac:cxnSpMkLst>
            <pc:docMk/>
            <pc:sldMk cId="1791248831" sldId="2147482012"/>
            <ac:cxnSpMk id="98" creationId="{4EA10CA9-6EBD-A2F6-FBBD-551A02CF4701}"/>
          </ac:cxnSpMkLst>
        </pc:cxnChg>
        <pc:cxnChg chg="mod">
          <ac:chgData name="Sindija Kirsteine (LV)" userId="5f25501a-2215-4bb3-9d9c-8d1484ffa7c1" providerId="ADAL" clId="{5C659B16-48DB-453B-907A-8EA353AF644C}" dt="2024-06-26T11:47:01.259" v="723" actId="1037"/>
          <ac:cxnSpMkLst>
            <pc:docMk/>
            <pc:sldMk cId="1791248831" sldId="2147482012"/>
            <ac:cxnSpMk id="130" creationId="{5517A59E-0478-0F8E-5578-D52E18B438AC}"/>
          </ac:cxnSpMkLst>
        </pc:cxn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5C659B16-48DB-453B-907A-8EA353AF644C}" dt="2024-06-26T11:42:00.331" v="533" actId="20577"/>
              <pc2:cmMkLst xmlns:pc2="http://schemas.microsoft.com/office/powerpoint/2019/9/main/command">
                <pc:docMk/>
                <pc:sldMk cId="1791248831" sldId="2147482012"/>
                <pc2:cmMk id="{076195FD-6758-49F6-A8B1-EF2326D1098C}"/>
              </pc2:cmMkLst>
            </pc226:cmChg>
          </p:ext>
        </pc:extLst>
      </pc:sldChg>
      <pc:sldChg chg="addSp delSp modSp mod">
        <pc:chgData name="Sindija Kirsteine (LV)" userId="5f25501a-2215-4bb3-9d9c-8d1484ffa7c1" providerId="ADAL" clId="{5C659B16-48DB-453B-907A-8EA353AF644C}" dt="2024-06-26T12:10:10.863" v="1102" actId="20577"/>
        <pc:sldMkLst>
          <pc:docMk/>
          <pc:sldMk cId="544519598" sldId="2147482017"/>
        </pc:sldMkLst>
        <pc:spChg chg="mod">
          <ac:chgData name="Sindija Kirsteine (LV)" userId="5f25501a-2215-4bb3-9d9c-8d1484ffa7c1" providerId="ADAL" clId="{5C659B16-48DB-453B-907A-8EA353AF644C}" dt="2024-06-26T11:56:12.694" v="856"/>
          <ac:spMkLst>
            <pc:docMk/>
            <pc:sldMk cId="544519598" sldId="2147482017"/>
            <ac:spMk id="2" creationId="{EC47296D-9568-ED7D-0457-80174E2BF2F8}"/>
          </ac:spMkLst>
        </pc:spChg>
        <pc:spChg chg="del">
          <ac:chgData name="Sindija Kirsteine (LV)" userId="5f25501a-2215-4bb3-9d9c-8d1484ffa7c1" providerId="ADAL" clId="{5C659B16-48DB-453B-907A-8EA353AF644C}" dt="2024-06-26T11:55:55.553" v="839" actId="478"/>
          <ac:spMkLst>
            <pc:docMk/>
            <pc:sldMk cId="544519598" sldId="2147482017"/>
            <ac:spMk id="5" creationId="{204821D5-C31E-9544-DF87-B3431C5E9ADE}"/>
          </ac:spMkLst>
        </pc:spChg>
        <pc:spChg chg="mod">
          <ac:chgData name="Sindija Kirsteine (LV)" userId="5f25501a-2215-4bb3-9d9c-8d1484ffa7c1" providerId="ADAL" clId="{5C659B16-48DB-453B-907A-8EA353AF644C}" dt="2024-06-26T12:10:10.863" v="1102" actId="20577"/>
          <ac:spMkLst>
            <pc:docMk/>
            <pc:sldMk cId="544519598" sldId="2147482017"/>
            <ac:spMk id="14" creationId="{4B888F26-7D1A-CA27-B5A8-6248A7263371}"/>
          </ac:spMkLst>
        </pc:spChg>
        <pc:spChg chg="mod">
          <ac:chgData name="Sindija Kirsteine (LV)" userId="5f25501a-2215-4bb3-9d9c-8d1484ffa7c1" providerId="ADAL" clId="{5C659B16-48DB-453B-907A-8EA353AF644C}" dt="2024-06-26T12:10:00.292" v="1096" actId="20577"/>
          <ac:spMkLst>
            <pc:docMk/>
            <pc:sldMk cId="544519598" sldId="2147482017"/>
            <ac:spMk id="18" creationId="{257A3C35-39C9-A4E6-1837-31F170B2C97A}"/>
          </ac:spMkLst>
        </pc:spChg>
        <pc:spChg chg="mod">
          <ac:chgData name="Sindija Kirsteine (LV)" userId="5f25501a-2215-4bb3-9d9c-8d1484ffa7c1" providerId="ADAL" clId="{5C659B16-48DB-453B-907A-8EA353AF644C}" dt="2024-06-26T12:08:40.328" v="1070"/>
          <ac:spMkLst>
            <pc:docMk/>
            <pc:sldMk cId="544519598" sldId="2147482017"/>
            <ac:spMk id="22" creationId="{BDC99A0B-8AB3-4918-5B31-2F9C4926A28C}"/>
          </ac:spMkLst>
        </pc:spChg>
        <pc:spChg chg="mod">
          <ac:chgData name="Sindija Kirsteine (LV)" userId="5f25501a-2215-4bb3-9d9c-8d1484ffa7c1" providerId="ADAL" clId="{5C659B16-48DB-453B-907A-8EA353AF644C}" dt="2024-06-26T11:58:03.786" v="896" actId="207"/>
          <ac:spMkLst>
            <pc:docMk/>
            <pc:sldMk cId="544519598" sldId="2147482017"/>
            <ac:spMk id="24" creationId="{09C2CCCC-B4A3-9533-7C1A-4E7B99F19AB0}"/>
          </ac:spMkLst>
        </pc:spChg>
        <pc:spChg chg="mod">
          <ac:chgData name="Sindija Kirsteine (LV)" userId="5f25501a-2215-4bb3-9d9c-8d1484ffa7c1" providerId="ADAL" clId="{5C659B16-48DB-453B-907A-8EA353AF644C}" dt="2024-06-26T11:59:29.027" v="933" actId="20577"/>
          <ac:spMkLst>
            <pc:docMk/>
            <pc:sldMk cId="544519598" sldId="2147482017"/>
            <ac:spMk id="32" creationId="{642FDFF0-C1EF-2DFC-03F4-C85494893547}"/>
          </ac:spMkLst>
        </pc:spChg>
        <pc:spChg chg="mod">
          <ac:chgData name="Sindija Kirsteine (LV)" userId="5f25501a-2215-4bb3-9d9c-8d1484ffa7c1" providerId="ADAL" clId="{5C659B16-48DB-453B-907A-8EA353AF644C}" dt="2024-06-26T11:58:15.379" v="901" actId="20577"/>
          <ac:spMkLst>
            <pc:docMk/>
            <pc:sldMk cId="544519598" sldId="2147482017"/>
            <ac:spMk id="35" creationId="{195A68F4-D954-A1C0-A647-42A436D9BC2B}"/>
          </ac:spMkLst>
        </pc:spChg>
        <pc:spChg chg="mod">
          <ac:chgData name="Sindija Kirsteine (LV)" userId="5f25501a-2215-4bb3-9d9c-8d1484ffa7c1" providerId="ADAL" clId="{5C659B16-48DB-453B-907A-8EA353AF644C}" dt="2024-06-26T12:09:36.408" v="1091" actId="20577"/>
          <ac:spMkLst>
            <pc:docMk/>
            <pc:sldMk cId="544519598" sldId="2147482017"/>
            <ac:spMk id="36" creationId="{3C145E88-345E-DEB9-9ABA-4CC30EEE55EB}"/>
          </ac:spMkLst>
        </pc:spChg>
        <pc:spChg chg="mod">
          <ac:chgData name="Sindija Kirsteine (LV)" userId="5f25501a-2215-4bb3-9d9c-8d1484ffa7c1" providerId="ADAL" clId="{5C659B16-48DB-453B-907A-8EA353AF644C}" dt="2024-06-26T11:56:05.428" v="853" actId="20577"/>
          <ac:spMkLst>
            <pc:docMk/>
            <pc:sldMk cId="544519598" sldId="2147482017"/>
            <ac:spMk id="50" creationId="{1E384B44-88CC-8F76-E9AF-DBDBDD24EECE}"/>
          </ac:spMkLst>
        </pc:spChg>
        <pc:picChg chg="add del">
          <ac:chgData name="Sindija Kirsteine (LV)" userId="5f25501a-2215-4bb3-9d9c-8d1484ffa7c1" providerId="ADAL" clId="{5C659B16-48DB-453B-907A-8EA353AF644C}" dt="2024-06-26T12:09:21.374" v="1080" actId="478"/>
          <ac:picMkLst>
            <pc:docMk/>
            <pc:sldMk cId="544519598" sldId="2147482017"/>
            <ac:picMk id="8" creationId="{5D2FD41C-4AB8-E6EB-8126-7FCC20DD5A8B}"/>
          </ac:picMkLst>
        </pc:picChg>
      </pc:sldChg>
      <pc:sldChg chg="delSp modSp mod modNotesTx">
        <pc:chgData name="Sindija Kirsteine (LV)" userId="5f25501a-2215-4bb3-9d9c-8d1484ffa7c1" providerId="ADAL" clId="{5C659B16-48DB-453B-907A-8EA353AF644C}" dt="2024-06-26T12:11:35.602" v="1134" actId="20577"/>
        <pc:sldMkLst>
          <pc:docMk/>
          <pc:sldMk cId="1401595425" sldId="2147482018"/>
        </pc:sldMkLst>
        <pc:spChg chg="mod">
          <ac:chgData name="Sindija Kirsteine (LV)" userId="5f25501a-2215-4bb3-9d9c-8d1484ffa7c1" providerId="ADAL" clId="{5C659B16-48DB-453B-907A-8EA353AF644C}" dt="2024-06-26T12:00:18.705" v="941"/>
          <ac:spMkLst>
            <pc:docMk/>
            <pc:sldMk cId="1401595425" sldId="2147482018"/>
            <ac:spMk id="2" creationId="{EC47296D-9568-ED7D-0457-80174E2BF2F8}"/>
          </ac:spMkLst>
        </pc:spChg>
        <pc:spChg chg="del">
          <ac:chgData name="Sindija Kirsteine (LV)" userId="5f25501a-2215-4bb3-9d9c-8d1484ffa7c1" providerId="ADAL" clId="{5C659B16-48DB-453B-907A-8EA353AF644C}" dt="2024-06-26T12:00:11.560" v="938" actId="478"/>
          <ac:spMkLst>
            <pc:docMk/>
            <pc:sldMk cId="1401595425" sldId="2147482018"/>
            <ac:spMk id="3" creationId="{26A01DD1-DDF3-3E83-7AC7-B4F190A01478}"/>
          </ac:spMkLst>
        </pc:spChg>
        <pc:spChg chg="mod">
          <ac:chgData name="Sindija Kirsteine (LV)" userId="5f25501a-2215-4bb3-9d9c-8d1484ffa7c1" providerId="ADAL" clId="{5C659B16-48DB-453B-907A-8EA353AF644C}" dt="2024-06-26T12:11:35.602" v="1134" actId="20577"/>
          <ac:spMkLst>
            <pc:docMk/>
            <pc:sldMk cId="1401595425" sldId="2147482018"/>
            <ac:spMk id="12" creationId="{6C159E5C-6825-65ED-B20E-2427062C845D}"/>
          </ac:spMkLst>
        </pc:spChg>
        <pc:spChg chg="mod">
          <ac:chgData name="Sindija Kirsteine (LV)" userId="5f25501a-2215-4bb3-9d9c-8d1484ffa7c1" providerId="ADAL" clId="{5C659B16-48DB-453B-907A-8EA353AF644C}" dt="2024-06-26T12:10:38.706" v="1109" actId="20577"/>
          <ac:spMkLst>
            <pc:docMk/>
            <pc:sldMk cId="1401595425" sldId="2147482018"/>
            <ac:spMk id="33" creationId="{A9EA678B-1C92-D1EC-5EF2-97D0A4907E68}"/>
          </ac:spMkLst>
        </pc:spChg>
        <pc:spChg chg="mod">
          <ac:chgData name="Sindija Kirsteine (LV)" userId="5f25501a-2215-4bb3-9d9c-8d1484ffa7c1" providerId="ADAL" clId="{5C659B16-48DB-453B-907A-8EA353AF644C}" dt="2024-06-26T12:01:13.317" v="973" actId="20577"/>
          <ac:spMkLst>
            <pc:docMk/>
            <pc:sldMk cId="1401595425" sldId="2147482018"/>
            <ac:spMk id="68" creationId="{DC58C25F-8110-0C29-4A50-5DADA78B621C}"/>
          </ac:spMkLst>
        </pc:spChg>
        <pc:spChg chg="mod">
          <ac:chgData name="Sindija Kirsteine (LV)" userId="5f25501a-2215-4bb3-9d9c-8d1484ffa7c1" providerId="ADAL" clId="{5C659B16-48DB-453B-907A-8EA353AF644C}" dt="2024-06-26T12:01:50.124" v="985" actId="20577"/>
          <ac:spMkLst>
            <pc:docMk/>
            <pc:sldMk cId="1401595425" sldId="2147482018"/>
            <ac:spMk id="75" creationId="{AB24C0B9-0E0F-E3B2-1237-5CBEE719A1F1}"/>
          </ac:spMkLst>
        </pc:spChg>
        <pc:spChg chg="mod">
          <ac:chgData name="Sindija Kirsteine (LV)" userId="5f25501a-2215-4bb3-9d9c-8d1484ffa7c1" providerId="ADAL" clId="{5C659B16-48DB-453B-907A-8EA353AF644C}" dt="2024-06-26T12:02:26.558" v="999" actId="20577"/>
          <ac:spMkLst>
            <pc:docMk/>
            <pc:sldMk cId="1401595425" sldId="2147482018"/>
            <ac:spMk id="76" creationId="{8793B610-11BB-3DD5-343E-D5A1842E54DF}"/>
          </ac:spMkLst>
        </pc:spChg>
        <pc:spChg chg="mod">
          <ac:chgData name="Sindija Kirsteine (LV)" userId="5f25501a-2215-4bb3-9d9c-8d1484ffa7c1" providerId="ADAL" clId="{5C659B16-48DB-453B-907A-8EA353AF644C}" dt="2024-06-26T12:11:20.322" v="1127" actId="20577"/>
          <ac:spMkLst>
            <pc:docMk/>
            <pc:sldMk cId="1401595425" sldId="2147482018"/>
            <ac:spMk id="77" creationId="{7507519A-1DE4-B47D-BFBC-5EC74A788B23}"/>
          </ac:spMkLst>
        </pc:spChg>
        <pc:spChg chg="mod">
          <ac:chgData name="Sindija Kirsteine (LV)" userId="5f25501a-2215-4bb3-9d9c-8d1484ffa7c1" providerId="ADAL" clId="{5C659B16-48DB-453B-907A-8EA353AF644C}" dt="2024-06-26T12:11:03.335" v="1118" actId="20577"/>
          <ac:spMkLst>
            <pc:docMk/>
            <pc:sldMk cId="1401595425" sldId="2147482018"/>
            <ac:spMk id="99" creationId="{805B5EBD-6AAC-3E2E-7379-47BAFD8ABB47}"/>
          </ac:spMkLst>
        </pc:spChg>
      </pc:sldChg>
      <pc:sldChg chg="modSp mod">
        <pc:chgData name="Sindija Kirsteine (LV)" userId="5f25501a-2215-4bb3-9d9c-8d1484ffa7c1" providerId="ADAL" clId="{5C659B16-48DB-453B-907A-8EA353AF644C}" dt="2024-06-26T12:11:51.685" v="1138"/>
        <pc:sldMkLst>
          <pc:docMk/>
          <pc:sldMk cId="2403530007" sldId="2147482019"/>
        </pc:sldMkLst>
        <pc:spChg chg="mod">
          <ac:chgData name="Sindija Kirsteine (LV)" userId="5f25501a-2215-4bb3-9d9c-8d1484ffa7c1" providerId="ADAL" clId="{5C659B16-48DB-453B-907A-8EA353AF644C}" dt="2024-06-26T12:11:51.685" v="1138"/>
          <ac:spMkLst>
            <pc:docMk/>
            <pc:sldMk cId="2403530007" sldId="2147482019"/>
            <ac:spMk id="2" creationId="{EC47296D-9568-ED7D-0457-80174E2BF2F8}"/>
          </ac:spMkLst>
        </pc:spChg>
        <pc:spChg chg="mod">
          <ac:chgData name="Sindija Kirsteine (LV)" userId="5f25501a-2215-4bb3-9d9c-8d1484ffa7c1" providerId="ADAL" clId="{5C659B16-48DB-453B-907A-8EA353AF644C}" dt="2024-06-26T10:47:04.547" v="12"/>
          <ac:spMkLst>
            <pc:docMk/>
            <pc:sldMk cId="2403530007" sldId="2147482019"/>
            <ac:spMk id="14" creationId="{4B888F26-7D1A-CA27-B5A8-6248A7263371}"/>
          </ac:spMkLst>
        </pc:spChg>
        <pc:spChg chg="mod">
          <ac:chgData name="Sindija Kirsteine (LV)" userId="5f25501a-2215-4bb3-9d9c-8d1484ffa7c1" providerId="ADAL" clId="{5C659B16-48DB-453B-907A-8EA353AF644C}" dt="2024-06-26T10:46:55.582" v="11" actId="207"/>
          <ac:spMkLst>
            <pc:docMk/>
            <pc:sldMk cId="2403530007" sldId="2147482019"/>
            <ac:spMk id="18" creationId="{257A3C35-39C9-A4E6-1837-31F170B2C97A}"/>
          </ac:spMkLst>
        </pc:spChg>
        <pc:spChg chg="mod">
          <ac:chgData name="Sindija Kirsteine (LV)" userId="5f25501a-2215-4bb3-9d9c-8d1484ffa7c1" providerId="ADAL" clId="{5C659B16-48DB-453B-907A-8EA353AF644C}" dt="2024-06-26T10:47:12.230" v="13"/>
          <ac:spMkLst>
            <pc:docMk/>
            <pc:sldMk cId="2403530007" sldId="2147482019"/>
            <ac:spMk id="22" creationId="{BDC99A0B-8AB3-4918-5B31-2F9C4926A28C}"/>
          </ac:spMkLst>
        </pc:spChg>
        <pc:spChg chg="mod">
          <ac:chgData name="Sindija Kirsteine (LV)" userId="5f25501a-2215-4bb3-9d9c-8d1484ffa7c1" providerId="ADAL" clId="{5C659B16-48DB-453B-907A-8EA353AF644C}" dt="2024-06-26T10:48:49.568" v="18" actId="20577"/>
          <ac:spMkLst>
            <pc:docMk/>
            <pc:sldMk cId="2403530007" sldId="2147482019"/>
            <ac:spMk id="32" creationId="{642FDFF0-C1EF-2DFC-03F4-C85494893547}"/>
          </ac:spMkLst>
        </pc:spChg>
        <pc:spChg chg="mod">
          <ac:chgData name="Sindija Kirsteine (LV)" userId="5f25501a-2215-4bb3-9d9c-8d1484ffa7c1" providerId="ADAL" clId="{5C659B16-48DB-453B-907A-8EA353AF644C}" dt="2024-06-26T10:46:47.313" v="9"/>
          <ac:spMkLst>
            <pc:docMk/>
            <pc:sldMk cId="2403530007" sldId="2147482019"/>
            <ac:spMk id="36" creationId="{3C145E88-345E-DEB9-9ABA-4CC30EEE55EB}"/>
          </ac:spMkLst>
        </pc:spChg>
      </pc:sldChg>
      <pc:sldChg chg="del">
        <pc:chgData name="Sindija Kirsteine (LV)" userId="5f25501a-2215-4bb3-9d9c-8d1484ffa7c1" providerId="ADAL" clId="{5C659B16-48DB-453B-907A-8EA353AF644C}" dt="2024-06-26T12:20:35.315" v="1222" actId="2696"/>
        <pc:sldMkLst>
          <pc:docMk/>
          <pc:sldMk cId="4066072075" sldId="2147482036"/>
        </pc:sldMkLst>
      </pc:sldChg>
      <pc:sldChg chg="delSp modSp mod">
        <pc:chgData name="Sindija Kirsteine (LV)" userId="5f25501a-2215-4bb3-9d9c-8d1484ffa7c1" providerId="ADAL" clId="{5C659B16-48DB-453B-907A-8EA353AF644C}" dt="2024-06-26T12:18:55.818" v="1208" actId="478"/>
        <pc:sldMkLst>
          <pc:docMk/>
          <pc:sldMk cId="397739886" sldId="2147482037"/>
        </pc:sldMkLst>
        <pc:spChg chg="mod">
          <ac:chgData name="Sindija Kirsteine (LV)" userId="5f25501a-2215-4bb3-9d9c-8d1484ffa7c1" providerId="ADAL" clId="{5C659B16-48DB-453B-907A-8EA353AF644C}" dt="2024-06-26T11:52:48.384" v="822" actId="403"/>
          <ac:spMkLst>
            <pc:docMk/>
            <pc:sldMk cId="397739886" sldId="2147482037"/>
            <ac:spMk id="12" creationId="{879A926F-6658-DAA7-02B9-E966021CE708}"/>
          </ac:spMkLst>
        </pc:spChg>
        <pc:spChg chg="mod">
          <ac:chgData name="Sindija Kirsteine (LV)" userId="5f25501a-2215-4bb3-9d9c-8d1484ffa7c1" providerId="ADAL" clId="{5C659B16-48DB-453B-907A-8EA353AF644C}" dt="2024-06-26T11:53:09.273" v="828" actId="403"/>
          <ac:spMkLst>
            <pc:docMk/>
            <pc:sldMk cId="397739886" sldId="2147482037"/>
            <ac:spMk id="26" creationId="{65F98EEB-1867-24F1-F90B-94B60ABC7A1E}"/>
          </ac:spMkLst>
        </pc:spChg>
        <pc:spChg chg="mod">
          <ac:chgData name="Sindija Kirsteine (LV)" userId="5f25501a-2215-4bb3-9d9c-8d1484ffa7c1" providerId="ADAL" clId="{5C659B16-48DB-453B-907A-8EA353AF644C}" dt="2024-06-26T11:53:01.368" v="824" actId="403"/>
          <ac:spMkLst>
            <pc:docMk/>
            <pc:sldMk cId="397739886" sldId="2147482037"/>
            <ac:spMk id="29" creationId="{D0459FDC-3233-A1DB-B051-A449292A3271}"/>
          </ac:spMkLst>
        </pc:spChg>
        <pc:spChg chg="mod">
          <ac:chgData name="Sindija Kirsteine (LV)" userId="5f25501a-2215-4bb3-9d9c-8d1484ffa7c1" providerId="ADAL" clId="{5C659B16-48DB-453B-907A-8EA353AF644C}" dt="2024-06-26T11:53:07.362" v="827" actId="403"/>
          <ac:spMkLst>
            <pc:docMk/>
            <pc:sldMk cId="397739886" sldId="2147482037"/>
            <ac:spMk id="34" creationId="{12F0F6C0-438D-3E18-23F6-612713CE2115}"/>
          </ac:spMkLst>
        </pc:spChg>
        <pc:spChg chg="mod">
          <ac:chgData name="Sindija Kirsteine (LV)" userId="5f25501a-2215-4bb3-9d9c-8d1484ffa7c1" providerId="ADAL" clId="{5C659B16-48DB-453B-907A-8EA353AF644C}" dt="2024-06-26T11:52:50.201" v="823" actId="403"/>
          <ac:spMkLst>
            <pc:docMk/>
            <pc:sldMk cId="397739886" sldId="2147482037"/>
            <ac:spMk id="59" creationId="{832B2F95-73B0-29EB-38D5-C0F7E24D784C}"/>
          </ac:spMkLst>
        </pc:spChg>
        <pc:spChg chg="mod">
          <ac:chgData name="Sindija Kirsteine (LV)" userId="5f25501a-2215-4bb3-9d9c-8d1484ffa7c1" providerId="ADAL" clId="{5C659B16-48DB-453B-907A-8EA353AF644C}" dt="2024-06-26T11:53:03.086" v="825" actId="403"/>
          <ac:spMkLst>
            <pc:docMk/>
            <pc:sldMk cId="397739886" sldId="2147482037"/>
            <ac:spMk id="60" creationId="{69AC082A-899D-C3B0-421D-F82747759664}"/>
          </ac:spMkLst>
        </pc:spChg>
        <pc:spChg chg="mod">
          <ac:chgData name="Sindija Kirsteine (LV)" userId="5f25501a-2215-4bb3-9d9c-8d1484ffa7c1" providerId="ADAL" clId="{5C659B16-48DB-453B-907A-8EA353AF644C}" dt="2024-06-26T11:53:05.174" v="826" actId="403"/>
          <ac:spMkLst>
            <pc:docMk/>
            <pc:sldMk cId="397739886" sldId="2147482037"/>
            <ac:spMk id="70" creationId="{7207570D-6BC3-69BD-FC5C-45A6B952F966}"/>
          </ac:spMkLst>
        </pc:spChg>
        <pc:spChg chg="mod">
          <ac:chgData name="Sindija Kirsteine (LV)" userId="5f25501a-2215-4bb3-9d9c-8d1484ffa7c1" providerId="ADAL" clId="{5C659B16-48DB-453B-907A-8EA353AF644C}" dt="2024-06-26T11:52:37.640" v="820" actId="403"/>
          <ac:spMkLst>
            <pc:docMk/>
            <pc:sldMk cId="397739886" sldId="2147482037"/>
            <ac:spMk id="78" creationId="{BE3E5224-9CA3-6737-AB60-A9BC8A74B53B}"/>
          </ac:spMkLst>
        </pc:spChg>
        <pc:spChg chg="mod">
          <ac:chgData name="Sindija Kirsteine (LV)" userId="5f25501a-2215-4bb3-9d9c-8d1484ffa7c1" providerId="ADAL" clId="{5C659B16-48DB-453B-907A-8EA353AF644C}" dt="2024-06-26T11:52:39.279" v="821" actId="403"/>
          <ac:spMkLst>
            <pc:docMk/>
            <pc:sldMk cId="397739886" sldId="2147482037"/>
            <ac:spMk id="85" creationId="{08B6BEF4-3A2A-EA8B-9B23-1077D45E646B}"/>
          </ac:spMkLst>
        </pc:spChg>
        <pc:spChg chg="del">
          <ac:chgData name="Sindija Kirsteine (LV)" userId="5f25501a-2215-4bb3-9d9c-8d1484ffa7c1" providerId="ADAL" clId="{5C659B16-48DB-453B-907A-8EA353AF644C}" dt="2024-06-26T12:18:55.818" v="1208" actId="478"/>
          <ac:spMkLst>
            <pc:docMk/>
            <pc:sldMk cId="397739886" sldId="2147482037"/>
            <ac:spMk id="88" creationId="{D215DCB7-5960-6A16-2294-40DEC25781DB}"/>
          </ac:spMkLst>
        </pc:spChg>
      </pc:sldChg>
      <pc:sldChg chg="modSp mod">
        <pc:chgData name="Sindija Kirsteine (LV)" userId="5f25501a-2215-4bb3-9d9c-8d1484ffa7c1" providerId="ADAL" clId="{5C659B16-48DB-453B-907A-8EA353AF644C}" dt="2024-06-26T10:49:37.507" v="43" actId="21"/>
        <pc:sldMkLst>
          <pc:docMk/>
          <pc:sldMk cId="3379316605" sldId="2147482086"/>
        </pc:sldMkLst>
        <pc:spChg chg="mod">
          <ac:chgData name="Sindija Kirsteine (LV)" userId="5f25501a-2215-4bb3-9d9c-8d1484ffa7c1" providerId="ADAL" clId="{5C659B16-48DB-453B-907A-8EA353AF644C}" dt="2024-06-26T10:49:37.507" v="43" actId="21"/>
          <ac:spMkLst>
            <pc:docMk/>
            <pc:sldMk cId="3379316605" sldId="2147482086"/>
            <ac:spMk id="24" creationId="{20F6161A-E3E2-A765-A44D-92728895AC83}"/>
          </ac:spMkLst>
        </pc:spChg>
      </pc:sldChg>
      <pc:sldChg chg="modSp mod">
        <pc:chgData name="Sindija Kirsteine (LV)" userId="5f25501a-2215-4bb3-9d9c-8d1484ffa7c1" providerId="ADAL" clId="{5C659B16-48DB-453B-907A-8EA353AF644C}" dt="2024-06-26T10:49:41.266" v="48" actId="20577"/>
        <pc:sldMkLst>
          <pc:docMk/>
          <pc:sldMk cId="1080075523" sldId="2147482087"/>
        </pc:sldMkLst>
        <pc:spChg chg="mod">
          <ac:chgData name="Sindija Kirsteine (LV)" userId="5f25501a-2215-4bb3-9d9c-8d1484ffa7c1" providerId="ADAL" clId="{5C659B16-48DB-453B-907A-8EA353AF644C}" dt="2024-06-26T10:49:41.266" v="48" actId="20577"/>
          <ac:spMkLst>
            <pc:docMk/>
            <pc:sldMk cId="1080075523" sldId="2147482087"/>
            <ac:spMk id="24" creationId="{20F6161A-E3E2-A765-A44D-92728895AC83}"/>
          </ac:spMkLst>
        </pc:spChg>
      </pc:sldChg>
      <pc:sldChg chg="del">
        <pc:chgData name="Sindija Kirsteine (LV)" userId="5f25501a-2215-4bb3-9d9c-8d1484ffa7c1" providerId="ADAL" clId="{5C659B16-48DB-453B-907A-8EA353AF644C}" dt="2024-06-26T10:50:28.100" v="57" actId="2696"/>
        <pc:sldMkLst>
          <pc:docMk/>
          <pc:sldMk cId="3744340507" sldId="2147482095"/>
        </pc:sldMkLst>
      </pc:sldChg>
      <pc:sldChg chg="del">
        <pc:chgData name="Sindija Kirsteine (LV)" userId="5f25501a-2215-4bb3-9d9c-8d1484ffa7c1" providerId="ADAL" clId="{5C659B16-48DB-453B-907A-8EA353AF644C}" dt="2024-06-26T12:22:04.781" v="1257" actId="2696"/>
        <pc:sldMkLst>
          <pc:docMk/>
          <pc:sldMk cId="88507002" sldId="2147482096"/>
        </pc:sldMkLst>
      </pc:sldChg>
      <pc:sldChg chg="del">
        <pc:chgData name="Sindija Kirsteine (LV)" userId="5f25501a-2215-4bb3-9d9c-8d1484ffa7c1" providerId="ADAL" clId="{5C659B16-48DB-453B-907A-8EA353AF644C}" dt="2024-06-26T12:26:35.794" v="1345" actId="2696"/>
        <pc:sldMkLst>
          <pc:docMk/>
          <pc:sldMk cId="1331285283" sldId="2147482097"/>
        </pc:sldMkLst>
      </pc:sldChg>
      <pc:sldChg chg="del">
        <pc:chgData name="Sindija Kirsteine (LV)" userId="5f25501a-2215-4bb3-9d9c-8d1484ffa7c1" providerId="ADAL" clId="{5C659B16-48DB-453B-907A-8EA353AF644C}" dt="2024-06-26T11:59:38.340" v="935" actId="2696"/>
        <pc:sldMkLst>
          <pc:docMk/>
          <pc:sldMk cId="1401161404" sldId="2147482098"/>
        </pc:sldMkLst>
      </pc:sldChg>
      <pc:sldChg chg="delSp modSp mod">
        <pc:chgData name="Sindija Kirsteine (LV)" userId="5f25501a-2215-4bb3-9d9c-8d1484ffa7c1" providerId="ADAL" clId="{5C659B16-48DB-453B-907A-8EA353AF644C}" dt="2024-07-01T06:58:48.045" v="1468"/>
        <pc:sldMkLst>
          <pc:docMk/>
          <pc:sldMk cId="385369569" sldId="2147482100"/>
        </pc:sldMkLst>
        <pc:spChg chg="mod">
          <ac:chgData name="Sindija Kirsteine (LV)" userId="5f25501a-2215-4bb3-9d9c-8d1484ffa7c1" providerId="ADAL" clId="{5C659B16-48DB-453B-907A-8EA353AF644C}" dt="2024-07-01T06:58:48.045" v="1468"/>
          <ac:spMkLst>
            <pc:docMk/>
            <pc:sldMk cId="385369569" sldId="2147482100"/>
            <ac:spMk id="7" creationId="{58051A40-6FB2-D129-6018-7981771593EF}"/>
          </ac:spMkLst>
        </pc:spChg>
        <pc:spChg chg="mod">
          <ac:chgData name="Sindija Kirsteine (LV)" userId="5f25501a-2215-4bb3-9d9c-8d1484ffa7c1" providerId="ADAL" clId="{5C659B16-48DB-453B-907A-8EA353AF644C}" dt="2024-06-26T11:28:28.684" v="173" actId="20577"/>
          <ac:spMkLst>
            <pc:docMk/>
            <pc:sldMk cId="385369569" sldId="2147482100"/>
            <ac:spMk id="11" creationId="{4313545E-2120-F08C-5E8F-081952269536}"/>
          </ac:spMkLst>
        </pc:spChg>
        <pc:spChg chg="del">
          <ac:chgData name="Sindija Kirsteine (LV)" userId="5f25501a-2215-4bb3-9d9c-8d1484ffa7c1" providerId="ADAL" clId="{5C659B16-48DB-453B-907A-8EA353AF644C}" dt="2024-06-26T12:21:32.718" v="1246" actId="478"/>
          <ac:spMkLst>
            <pc:docMk/>
            <pc:sldMk cId="385369569" sldId="2147482100"/>
            <ac:spMk id="41" creationId="{E3CACA74-84B6-06F5-AC5E-20CF32E6AC29}"/>
          </ac:spMkLst>
        </pc:spChg>
      </pc:sldChg>
      <pc:sldChg chg="del">
        <pc:chgData name="Sindija Kirsteine (LV)" userId="5f25501a-2215-4bb3-9d9c-8d1484ffa7c1" providerId="ADAL" clId="{5C659B16-48DB-453B-907A-8EA353AF644C}" dt="2024-06-26T12:19:21.912" v="1216" actId="2696"/>
        <pc:sldMkLst>
          <pc:docMk/>
          <pc:sldMk cId="710105288" sldId="2147482101"/>
        </pc:sldMkLst>
      </pc:sldChg>
      <pc:sldChg chg="add">
        <pc:chgData name="Sindija Kirsteine (LV)" userId="5f25501a-2215-4bb3-9d9c-8d1484ffa7c1" providerId="ADAL" clId="{5C659B16-48DB-453B-907A-8EA353AF644C}" dt="2024-07-01T06:57:16.244" v="1449"/>
        <pc:sldMkLst>
          <pc:docMk/>
          <pc:sldMk cId="1637488370" sldId="2147482101"/>
        </pc:sldMkLst>
      </pc:sldChg>
      <pc:sldChg chg="del">
        <pc:chgData name="Sindija Kirsteine (LV)" userId="5f25501a-2215-4bb3-9d9c-8d1484ffa7c1" providerId="ADAL" clId="{5C659B16-48DB-453B-907A-8EA353AF644C}" dt="2024-06-26T12:21:24.379" v="1240" actId="2696"/>
        <pc:sldMkLst>
          <pc:docMk/>
          <pc:sldMk cId="1411556105" sldId="2147482103"/>
        </pc:sldMkLst>
      </pc:sldChg>
      <pc:sldChg chg="del">
        <pc:chgData name="Sindija Kirsteine (LV)" userId="5f25501a-2215-4bb3-9d9c-8d1484ffa7c1" providerId="ADAL" clId="{5C659B16-48DB-453B-907A-8EA353AF644C}" dt="2024-06-26T12:21:55.943" v="1248" actId="47"/>
        <pc:sldMkLst>
          <pc:docMk/>
          <pc:sldMk cId="1732914265" sldId="2147482104"/>
        </pc:sldMkLst>
      </pc:sldChg>
      <pc:sldChg chg="add del">
        <pc:chgData name="Sindija Kirsteine (LV)" userId="5f25501a-2215-4bb3-9d9c-8d1484ffa7c1" providerId="ADAL" clId="{5C659B16-48DB-453B-907A-8EA353AF644C}" dt="2024-06-26T12:26:49.410" v="1350" actId="2696"/>
        <pc:sldMkLst>
          <pc:docMk/>
          <pc:sldMk cId="1070168670" sldId="2147482105"/>
        </pc:sldMkLst>
      </pc:sldChg>
      <pc:sldChg chg="add del mod modShow">
        <pc:chgData name="Sindija Kirsteine (LV)" userId="5f25501a-2215-4bb3-9d9c-8d1484ffa7c1" providerId="ADAL" clId="{5C659B16-48DB-453B-907A-8EA353AF644C}" dt="2024-06-26T11:55:41.128" v="832" actId="2696"/>
        <pc:sldMkLst>
          <pc:docMk/>
          <pc:sldMk cId="2549440115" sldId="2147482106"/>
        </pc:sldMkLst>
      </pc:sldChg>
      <pc:sldChg chg="add del">
        <pc:chgData name="Sindija Kirsteine (LV)" userId="5f25501a-2215-4bb3-9d9c-8d1484ffa7c1" providerId="ADAL" clId="{5C659B16-48DB-453B-907A-8EA353AF644C}" dt="2024-06-26T12:26:16.306" v="1336" actId="2696"/>
        <pc:sldMkLst>
          <pc:docMk/>
          <pc:sldMk cId="2746388063" sldId="2147482106"/>
        </pc:sldMkLst>
      </pc:sldChg>
    </pc:docChg>
  </pc:docChgLst>
  <pc:docChgLst>
    <pc:chgData name="Annemarija Apine (LV)" userId="S::annemarija.apine@pwc.com::546f5c59-3b8d-47fd-b739-a8fadc631053" providerId="AD" clId="Web-{0221ACF5-8416-5483-A5BD-6AE3C1F56E8E}"/>
    <pc:docChg chg="modSld">
      <pc:chgData name="Annemarija Apine (LV)" userId="S::annemarija.apine@pwc.com::546f5c59-3b8d-47fd-b739-a8fadc631053" providerId="AD" clId="Web-{0221ACF5-8416-5483-A5BD-6AE3C1F56E8E}" dt="2024-07-08T01:19:21.242" v="0" actId="20577"/>
      <pc:docMkLst>
        <pc:docMk/>
      </pc:docMkLst>
      <pc:sldChg chg="modSp">
        <pc:chgData name="Annemarija Apine (LV)" userId="S::annemarija.apine@pwc.com::546f5c59-3b8d-47fd-b739-a8fadc631053" providerId="AD" clId="Web-{0221ACF5-8416-5483-A5BD-6AE3C1F56E8E}" dt="2024-07-08T01:19:21.242" v="0" actId="20577"/>
        <pc:sldMkLst>
          <pc:docMk/>
          <pc:sldMk cId="3627720504" sldId="2147481927"/>
        </pc:sldMkLst>
        <pc:spChg chg="mod">
          <ac:chgData name="Annemarija Apine (LV)" userId="S::annemarija.apine@pwc.com::546f5c59-3b8d-47fd-b739-a8fadc631053" providerId="AD" clId="Web-{0221ACF5-8416-5483-A5BD-6AE3C1F56E8E}" dt="2024-07-08T01:19:21.242" v="0" actId="20577"/>
          <ac:spMkLst>
            <pc:docMk/>
            <pc:sldMk cId="3627720504" sldId="2147481927"/>
            <ac:spMk id="3" creationId="{4EF6DB77-182C-C281-1C2F-C2E2D9AB6583}"/>
          </ac:spMkLst>
        </pc:spChg>
      </pc:sldChg>
    </pc:docChg>
  </pc:docChgLst>
  <pc:docChgLst>
    <pc:chgData name="Sindija Kirsteine (LV)" userId="5f25501a-2215-4bb3-9d9c-8d1484ffa7c1" providerId="ADAL" clId="{A57E2355-99C7-4C5F-938A-9E8786635066}"/>
    <pc:docChg chg="custSel modSld replTag">
      <pc:chgData name="Sindija Kirsteine (LV)" userId="5f25501a-2215-4bb3-9d9c-8d1484ffa7c1" providerId="ADAL" clId="{A57E2355-99C7-4C5F-938A-9E8786635066}" dt="2024-09-02T07:26:40.391" v="15"/>
      <pc:docMkLst>
        <pc:docMk/>
      </pc:docMkLst>
      <pc:sldChg chg="modSp mod">
        <pc:chgData name="Sindija Kirsteine (LV)" userId="5f25501a-2215-4bb3-9d9c-8d1484ffa7c1" providerId="ADAL" clId="{A57E2355-99C7-4C5F-938A-9E8786635066}" dt="2024-09-02T06:31:23.064" v="6" actId="21"/>
        <pc:sldMkLst>
          <pc:docMk/>
          <pc:sldMk cId="3379316605" sldId="2147482086"/>
        </pc:sldMkLst>
        <pc:spChg chg="mod">
          <ac:chgData name="Sindija Kirsteine (LV)" userId="5f25501a-2215-4bb3-9d9c-8d1484ffa7c1" providerId="ADAL" clId="{A57E2355-99C7-4C5F-938A-9E8786635066}" dt="2024-09-02T06:31:23.064" v="6" actId="21"/>
          <ac:spMkLst>
            <pc:docMk/>
            <pc:sldMk cId="3379316605" sldId="2147482086"/>
            <ac:spMk id="24" creationId="{20F6161A-E3E2-A765-A44D-92728895AC83}"/>
          </ac:spMkLst>
        </pc:spChg>
      </pc:sldChg>
      <pc:sldChg chg="modSp mod">
        <pc:chgData name="Sindija Kirsteine (LV)" userId="5f25501a-2215-4bb3-9d9c-8d1484ffa7c1" providerId="ADAL" clId="{A57E2355-99C7-4C5F-938A-9E8786635066}" dt="2024-09-02T06:31:27.715" v="11" actId="20577"/>
        <pc:sldMkLst>
          <pc:docMk/>
          <pc:sldMk cId="1080075523" sldId="2147482087"/>
        </pc:sldMkLst>
        <pc:spChg chg="mod">
          <ac:chgData name="Sindija Kirsteine (LV)" userId="5f25501a-2215-4bb3-9d9c-8d1484ffa7c1" providerId="ADAL" clId="{A57E2355-99C7-4C5F-938A-9E8786635066}" dt="2024-09-02T06:31:27.715" v="11" actId="20577"/>
          <ac:spMkLst>
            <pc:docMk/>
            <pc:sldMk cId="1080075523" sldId="2147482087"/>
            <ac:spMk id="24" creationId="{20F6161A-E3E2-A765-A44D-92728895AC8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21690669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4</a:t>
            </a:fld>
            <a:endParaRPr lang="en-GB"/>
          </a:p>
        </p:txBody>
      </p:sp>
    </p:spTree>
    <p:extLst>
      <p:ext uri="{BB962C8B-B14F-4D97-AF65-F5344CB8AC3E}">
        <p14:creationId xmlns:p14="http://schemas.microsoft.com/office/powerpoint/2010/main" val="1270093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5</a:t>
            </a:fld>
            <a:endParaRPr lang="en-GB"/>
          </a:p>
        </p:txBody>
      </p:sp>
    </p:spTree>
    <p:extLst>
      <p:ext uri="{BB962C8B-B14F-4D97-AF65-F5344CB8AC3E}">
        <p14:creationId xmlns:p14="http://schemas.microsoft.com/office/powerpoint/2010/main" val="3615338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6</a:t>
            </a:fld>
            <a:endParaRPr lang="en-GB"/>
          </a:p>
        </p:txBody>
      </p:sp>
    </p:spTree>
    <p:extLst>
      <p:ext uri="{BB962C8B-B14F-4D97-AF65-F5344CB8AC3E}">
        <p14:creationId xmlns:p14="http://schemas.microsoft.com/office/powerpoint/2010/main" val="35924748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7</a:t>
            </a:fld>
            <a:endParaRPr lang="en-GB"/>
          </a:p>
        </p:txBody>
      </p:sp>
    </p:spTree>
    <p:extLst>
      <p:ext uri="{BB962C8B-B14F-4D97-AF65-F5344CB8AC3E}">
        <p14:creationId xmlns:p14="http://schemas.microsoft.com/office/powerpoint/2010/main" val="17224698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8</a:t>
            </a:fld>
            <a:endParaRPr lang="en-GB"/>
          </a:p>
        </p:txBody>
      </p:sp>
    </p:spTree>
    <p:extLst>
      <p:ext uri="{BB962C8B-B14F-4D97-AF65-F5344CB8AC3E}">
        <p14:creationId xmlns:p14="http://schemas.microsoft.com/office/powerpoint/2010/main" val="18228177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9</a:t>
            </a:fld>
            <a:endParaRPr lang="en-GB"/>
          </a:p>
        </p:txBody>
      </p:sp>
    </p:spTree>
    <p:extLst>
      <p:ext uri="{BB962C8B-B14F-4D97-AF65-F5344CB8AC3E}">
        <p14:creationId xmlns:p14="http://schemas.microsoft.com/office/powerpoint/2010/main" val="3450070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0</a:t>
            </a:fld>
            <a:endParaRPr lang="en-GB"/>
          </a:p>
        </p:txBody>
      </p:sp>
    </p:spTree>
    <p:extLst>
      <p:ext uri="{BB962C8B-B14F-4D97-AF65-F5344CB8AC3E}">
        <p14:creationId xmlns:p14="http://schemas.microsoft.com/office/powerpoint/2010/main" val="3880470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1</a:t>
            </a:fld>
            <a:endParaRPr lang="en-GB"/>
          </a:p>
        </p:txBody>
      </p:sp>
    </p:spTree>
    <p:extLst>
      <p:ext uri="{BB962C8B-B14F-4D97-AF65-F5344CB8AC3E}">
        <p14:creationId xmlns:p14="http://schemas.microsoft.com/office/powerpoint/2010/main" val="5589160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9735477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3</a:t>
            </a:fld>
            <a:endParaRPr lang="en-GB"/>
          </a:p>
        </p:txBody>
      </p:sp>
    </p:spTree>
    <p:extLst>
      <p:ext uri="{BB962C8B-B14F-4D97-AF65-F5344CB8AC3E}">
        <p14:creationId xmlns:p14="http://schemas.microsoft.com/office/powerpoint/2010/main" val="3096293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6</a:t>
            </a:fld>
            <a:endParaRPr lang="en-GB"/>
          </a:p>
        </p:txBody>
      </p:sp>
    </p:spTree>
    <p:extLst>
      <p:ext uri="{BB962C8B-B14F-4D97-AF65-F5344CB8AC3E}">
        <p14:creationId xmlns:p14="http://schemas.microsoft.com/office/powerpoint/2010/main" val="33960803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4</a:t>
            </a:fld>
            <a:endParaRPr lang="en-GB"/>
          </a:p>
        </p:txBody>
      </p:sp>
    </p:spTree>
    <p:extLst>
      <p:ext uri="{BB962C8B-B14F-4D97-AF65-F5344CB8AC3E}">
        <p14:creationId xmlns:p14="http://schemas.microsoft.com/office/powerpoint/2010/main" val="11121815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5</a:t>
            </a:fld>
            <a:endParaRPr lang="en-GB"/>
          </a:p>
        </p:txBody>
      </p:sp>
    </p:spTree>
    <p:extLst>
      <p:ext uri="{BB962C8B-B14F-4D97-AF65-F5344CB8AC3E}">
        <p14:creationId xmlns:p14="http://schemas.microsoft.com/office/powerpoint/2010/main" val="9373733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6</a:t>
            </a:fld>
            <a:endParaRPr lang="en-GB"/>
          </a:p>
        </p:txBody>
      </p:sp>
    </p:spTree>
    <p:extLst>
      <p:ext uri="{BB962C8B-B14F-4D97-AF65-F5344CB8AC3E}">
        <p14:creationId xmlns:p14="http://schemas.microsoft.com/office/powerpoint/2010/main" val="40129053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7</a:t>
            </a:fld>
            <a:endParaRPr lang="en-GB"/>
          </a:p>
        </p:txBody>
      </p:sp>
    </p:spTree>
    <p:extLst>
      <p:ext uri="{BB962C8B-B14F-4D97-AF65-F5344CB8AC3E}">
        <p14:creationId xmlns:p14="http://schemas.microsoft.com/office/powerpoint/2010/main" val="41655059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8</a:t>
            </a:fld>
            <a:endParaRPr lang="en-GB"/>
          </a:p>
        </p:txBody>
      </p:sp>
    </p:spTree>
    <p:extLst>
      <p:ext uri="{BB962C8B-B14F-4D97-AF65-F5344CB8AC3E}">
        <p14:creationId xmlns:p14="http://schemas.microsoft.com/office/powerpoint/2010/main" val="317096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9</a:t>
            </a:fld>
            <a:endParaRPr lang="en-GB"/>
          </a:p>
        </p:txBody>
      </p:sp>
    </p:spTree>
    <p:extLst>
      <p:ext uri="{BB962C8B-B14F-4D97-AF65-F5344CB8AC3E}">
        <p14:creationId xmlns:p14="http://schemas.microsoft.com/office/powerpoint/2010/main" val="27421046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0</a:t>
            </a:fld>
            <a:endParaRPr lang="en-GB"/>
          </a:p>
        </p:txBody>
      </p:sp>
    </p:spTree>
    <p:extLst>
      <p:ext uri="{BB962C8B-B14F-4D97-AF65-F5344CB8AC3E}">
        <p14:creationId xmlns:p14="http://schemas.microsoft.com/office/powerpoint/2010/main" val="42552287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1</a:t>
            </a:fld>
            <a:endParaRPr lang="en-GB"/>
          </a:p>
        </p:txBody>
      </p:sp>
    </p:spTree>
    <p:extLst>
      <p:ext uri="{BB962C8B-B14F-4D97-AF65-F5344CB8AC3E}">
        <p14:creationId xmlns:p14="http://schemas.microsoft.com/office/powerpoint/2010/main" val="26758515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2</a:t>
            </a:fld>
            <a:endParaRPr lang="en-GB"/>
          </a:p>
        </p:txBody>
      </p:sp>
    </p:spTree>
    <p:extLst>
      <p:ext uri="{BB962C8B-B14F-4D97-AF65-F5344CB8AC3E}">
        <p14:creationId xmlns:p14="http://schemas.microsoft.com/office/powerpoint/2010/main" val="842498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3</a:t>
            </a:fld>
            <a:endParaRPr lang="en-GB"/>
          </a:p>
        </p:txBody>
      </p:sp>
    </p:spTree>
    <p:extLst>
      <p:ext uri="{BB962C8B-B14F-4D97-AF65-F5344CB8AC3E}">
        <p14:creationId xmlns:p14="http://schemas.microsoft.com/office/powerpoint/2010/main" val="369085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36481053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4</a:t>
            </a:fld>
            <a:endParaRPr lang="en-GB"/>
          </a:p>
        </p:txBody>
      </p:sp>
    </p:spTree>
    <p:extLst>
      <p:ext uri="{BB962C8B-B14F-4D97-AF65-F5344CB8AC3E}">
        <p14:creationId xmlns:p14="http://schemas.microsoft.com/office/powerpoint/2010/main" val="7255997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3950591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762321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a:t>
            </a:fld>
            <a:endParaRPr lang="en-GB"/>
          </a:p>
        </p:txBody>
      </p:sp>
    </p:spTree>
    <p:extLst>
      <p:ext uri="{BB962C8B-B14F-4D97-AF65-F5344CB8AC3E}">
        <p14:creationId xmlns:p14="http://schemas.microsoft.com/office/powerpoint/2010/main" val="1141550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9</a:t>
            </a:fld>
            <a:endParaRPr lang="en-GB"/>
          </a:p>
        </p:txBody>
      </p:sp>
    </p:spTree>
    <p:extLst>
      <p:ext uri="{BB962C8B-B14F-4D97-AF65-F5344CB8AC3E}">
        <p14:creationId xmlns:p14="http://schemas.microsoft.com/office/powerpoint/2010/main" val="1013313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0</a:t>
            </a:fld>
            <a:endParaRPr lang="en-GB"/>
          </a:p>
        </p:txBody>
      </p:sp>
    </p:spTree>
    <p:extLst>
      <p:ext uri="{BB962C8B-B14F-4D97-AF65-F5344CB8AC3E}">
        <p14:creationId xmlns:p14="http://schemas.microsoft.com/office/powerpoint/2010/main" val="2063607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www.vugd.gov.lv/lv/stiprs-vejs-negaiss</a:t>
            </a:r>
          </a:p>
        </p:txBody>
      </p:sp>
      <p:sp>
        <p:nvSpPr>
          <p:cNvPr id="4" name="Slide Number Placeholder 3"/>
          <p:cNvSpPr>
            <a:spLocks noGrp="1"/>
          </p:cNvSpPr>
          <p:nvPr>
            <p:ph type="sldNum" sz="quarter" idx="5"/>
          </p:nvPr>
        </p:nvSpPr>
        <p:spPr/>
        <p:txBody>
          <a:bodyPr/>
          <a:lstStyle/>
          <a:p>
            <a:fld id="{20CA530D-631F-4981-98F0-E6C07C67E1A3}" type="slidenum">
              <a:rPr lang="en-GB" smtClean="0"/>
              <a:t>11</a:t>
            </a:fld>
            <a:endParaRPr lang="en-GB"/>
          </a:p>
        </p:txBody>
      </p:sp>
    </p:spTree>
    <p:extLst>
      <p:ext uri="{BB962C8B-B14F-4D97-AF65-F5344CB8AC3E}">
        <p14:creationId xmlns:p14="http://schemas.microsoft.com/office/powerpoint/2010/main" val="4154802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2</a:t>
            </a:fld>
            <a:endParaRPr lang="en-GB"/>
          </a:p>
        </p:txBody>
      </p:sp>
    </p:spTree>
    <p:extLst>
      <p:ext uri="{BB962C8B-B14F-4D97-AF65-F5344CB8AC3E}">
        <p14:creationId xmlns:p14="http://schemas.microsoft.com/office/powerpoint/2010/main" val="4188449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3</a:t>
            </a:fld>
            <a:endParaRPr lang="en-GB"/>
          </a:p>
        </p:txBody>
      </p:sp>
    </p:spTree>
    <p:extLst>
      <p:ext uri="{BB962C8B-B14F-4D97-AF65-F5344CB8AC3E}">
        <p14:creationId xmlns:p14="http://schemas.microsoft.com/office/powerpoint/2010/main" val="2994014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767041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809713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lvl1pPr algn="l">
              <a:defRPr/>
            </a:lvl1pPr>
          </a:lstStyle>
          <a:p>
            <a:r>
              <a:rPr lang="en-US"/>
              <a:t>Presentation Title</a:t>
            </a:r>
          </a:p>
        </p:txBody>
      </p:sp>
      <p:sp>
        <p:nvSpPr>
          <p:cNvPr id="6" name="Rectangle 5">
            <a:extLst>
              <a:ext uri="{FF2B5EF4-FFF2-40B4-BE49-F238E27FC236}">
                <a16:creationId xmlns:a16="http://schemas.microsoft.com/office/drawing/2014/main" id="{809D7AE3-DC09-FADC-3E28-1C9D0E1377CC}"/>
              </a:ext>
            </a:extLst>
          </p:cNvPr>
          <p:cNvSpPr/>
          <p:nvPr userDrawn="1"/>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a:solidFill>
                  <a:srgbClr val="A4A3B2"/>
                </a:solidFill>
                <a:ea typeface="Georgia"/>
                <a:cs typeface="Georgia"/>
                <a:sym typeface="Georgia"/>
              </a:rPr>
              <a:t>6. DROŠĪBAS PADOMI KATASTROFU GADĪJUMĀ</a:t>
            </a:r>
          </a:p>
        </p:txBody>
      </p:sp>
    </p:spTree>
    <p:extLst>
      <p:ext uri="{BB962C8B-B14F-4D97-AF65-F5344CB8AC3E}">
        <p14:creationId xmlns:p14="http://schemas.microsoft.com/office/powerpoint/2010/main" val="1531588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DC7163-24C5-1148-C606-2993367844EC}"/>
              </a:ext>
            </a:extLst>
          </p:cNvPr>
          <p:cNvGraphicFramePr>
            <a:graphicFrameLocks noChangeAspect="1"/>
          </p:cNvGraphicFramePr>
          <p:nvPr userDrawn="1">
            <p:custDataLst>
              <p:tags r:id="rId1"/>
            </p:custDataLst>
            <p:extLst>
              <p:ext uri="{D42A27DB-BD31-4B8C-83A1-F6EECF244321}">
                <p14:modId xmlns:p14="http://schemas.microsoft.com/office/powerpoint/2010/main" val="3606952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 name="think-cell data - do not delete" hidden="1">
                        <a:extLst>
                          <a:ext uri="{FF2B5EF4-FFF2-40B4-BE49-F238E27FC236}">
                            <a16:creationId xmlns:a16="http://schemas.microsoft.com/office/drawing/2014/main" id="{DADC7163-24C5-1148-C606-2993367844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F61D9CD-01F9-E7AA-151B-C2AD5B73A256}"/>
              </a:ext>
            </a:extLst>
          </p:cNvPr>
          <p:cNvSpPr>
            <a:spLocks noGrp="1"/>
          </p:cNvSpPr>
          <p:nvPr>
            <p:ph type="pic" sz="quarter" idx="14"/>
          </p:nvPr>
        </p:nvSpPr>
        <p:spPr>
          <a:xfrm>
            <a:off x="4850964" y="2853876"/>
            <a:ext cx="6897688" cy="3317875"/>
          </a:xfrm>
        </p:spPr>
        <p:txBody>
          <a:bodyPr/>
          <a:lstStyle/>
          <a:p>
            <a:endParaRPr lang="en-GB"/>
          </a:p>
        </p:txBody>
      </p:sp>
      <p:sp>
        <p:nvSpPr>
          <p:cNvPr id="2" name="Title 1"/>
          <p:cNvSpPr>
            <a:spLocks noGrp="1"/>
          </p:cNvSpPr>
          <p:nvPr>
            <p:ph type="title" hasCustomPrompt="1"/>
          </p:nvPr>
        </p:nvSpPr>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lvl1pPr algn="l">
              <a:defRPr/>
            </a:lvl1pPr>
          </a:lstStyle>
          <a:p>
            <a:r>
              <a:rPr lang="en-US"/>
              <a:t>Presentation Title</a:t>
            </a:r>
          </a:p>
        </p:txBody>
      </p:sp>
      <p:sp>
        <p:nvSpPr>
          <p:cNvPr id="7" name="Rectangle 6">
            <a:extLst>
              <a:ext uri="{FF2B5EF4-FFF2-40B4-BE49-F238E27FC236}">
                <a16:creationId xmlns:a16="http://schemas.microsoft.com/office/drawing/2014/main" id="{6AB86BF5-8538-E32A-B346-35C40B580E8F}"/>
              </a:ext>
            </a:extLst>
          </p:cNvPr>
          <p:cNvSpPr/>
          <p:nvPr userDrawn="1"/>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a:solidFill>
                  <a:srgbClr val="A4A3B2"/>
                </a:solidFill>
                <a:ea typeface="Georgia"/>
                <a:cs typeface="Georgia"/>
                <a:sym typeface="Georgia"/>
              </a:rPr>
              <a:t>4. KATASTROFAS PĀRVALDĪŠANA UN TO VEIDI</a:t>
            </a:r>
          </a:p>
        </p:txBody>
      </p:sp>
    </p:spTree>
    <p:extLst>
      <p:ext uri="{BB962C8B-B14F-4D97-AF65-F5344CB8AC3E}">
        <p14:creationId xmlns:p14="http://schemas.microsoft.com/office/powerpoint/2010/main" val="39317333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C8B76D5-4AF8-3657-C78E-B40F7D923142}"/>
              </a:ext>
            </a:extLst>
          </p:cNvPr>
          <p:cNvGraphicFramePr>
            <a:graphicFrameLocks noChangeAspect="1"/>
          </p:cNvGraphicFramePr>
          <p:nvPr userDrawn="1">
            <p:custDataLst>
              <p:tags r:id="rId14"/>
            </p:custDataLst>
            <p:extLst>
              <p:ext uri="{D42A27DB-BD31-4B8C-83A1-F6EECF244321}">
                <p14:modId xmlns:p14="http://schemas.microsoft.com/office/powerpoint/2010/main" val="89283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6" progId="TCLayout.ActiveDocument.1">
                  <p:embed/>
                </p:oleObj>
              </mc:Choice>
              <mc:Fallback>
                <p:oleObj name="think-cell Slide" r:id="rId15" imgW="473" imgH="476" progId="TCLayout.ActiveDocument.1">
                  <p:embed/>
                  <p:pic>
                    <p:nvPicPr>
                      <p:cNvPr id="9" name="think-cell data - do not delete" hidden="1">
                        <a:extLst>
                          <a:ext uri="{FF2B5EF4-FFF2-40B4-BE49-F238E27FC236}">
                            <a16:creationId xmlns:a16="http://schemas.microsoft.com/office/drawing/2014/main" id="{0C8B76D5-4AF8-3657-C78E-B40F7D9231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sentation Title</a:t>
            </a:r>
          </a:p>
        </p:txBody>
      </p:sp>
      <p:sp>
        <p:nvSpPr>
          <p:cNvPr id="10" name="Taisnstūris 6">
            <a:extLst>
              <a:ext uri="{FF2B5EF4-FFF2-40B4-BE49-F238E27FC236}">
                <a16:creationId xmlns:a16="http://schemas.microsoft.com/office/drawing/2014/main" id="{A2BE061D-B094-EE33-34BA-06B6F7665E56}"/>
              </a:ext>
            </a:extLst>
          </p:cNvPr>
          <p:cNvSpPr/>
          <p:nvPr userDrawn="1"/>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1" name="Taisnstūris 3">
            <a:extLst>
              <a:ext uri="{FF2B5EF4-FFF2-40B4-BE49-F238E27FC236}">
                <a16:creationId xmlns:a16="http://schemas.microsoft.com/office/drawing/2014/main" id="{0FB7B73C-8236-8809-83D8-F680B2E227E5}"/>
              </a:ext>
            </a:extLst>
          </p:cNvPr>
          <p:cNvSpPr/>
          <p:nvPr userDrawn="1"/>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2" name="Taisnstūris 4">
            <a:extLst>
              <a:ext uri="{FF2B5EF4-FFF2-40B4-BE49-F238E27FC236}">
                <a16:creationId xmlns:a16="http://schemas.microsoft.com/office/drawing/2014/main" id="{1F1F5031-D3F1-1B08-731E-193E5BBAED83}"/>
              </a:ext>
            </a:extLst>
          </p:cNvPr>
          <p:cNvSpPr/>
          <p:nvPr userDrawn="1"/>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3" name="Taisnstūris 7">
            <a:extLst>
              <a:ext uri="{FF2B5EF4-FFF2-40B4-BE49-F238E27FC236}">
                <a16:creationId xmlns:a16="http://schemas.microsoft.com/office/drawing/2014/main" id="{50E6FB7E-3DB1-7A74-A415-F9A08DAE38E6}"/>
              </a:ext>
            </a:extLst>
          </p:cNvPr>
          <p:cNvSpPr/>
          <p:nvPr userDrawn="1"/>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4" name="Taisnstūris 5">
            <a:extLst>
              <a:ext uri="{FF2B5EF4-FFF2-40B4-BE49-F238E27FC236}">
                <a16:creationId xmlns:a16="http://schemas.microsoft.com/office/drawing/2014/main" id="{B82076D9-005F-2DCA-F79E-E6F39D683ED6}"/>
              </a:ext>
            </a:extLst>
          </p:cNvPr>
          <p:cNvSpPr/>
          <p:nvPr userDrawn="1"/>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5" name="Rectangle 14">
            <a:extLst>
              <a:ext uri="{FF2B5EF4-FFF2-40B4-BE49-F238E27FC236}">
                <a16:creationId xmlns:a16="http://schemas.microsoft.com/office/drawing/2014/main" id="{642E82FD-FD17-024C-673F-F303B3933EDB}"/>
              </a:ext>
            </a:extLst>
          </p:cNvPr>
          <p:cNvSpPr/>
          <p:nvPr userDrawn="1"/>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5" r:id="rId1"/>
    <p:sldLayoutId id="2147483728" r:id="rId2"/>
    <p:sldLayoutId id="2147483740" r:id="rId3"/>
    <p:sldLayoutId id="2147483741" r:id="rId4"/>
    <p:sldLayoutId id="2147483742" r:id="rId5"/>
    <p:sldLayoutId id="2147483743" r:id="rId6"/>
    <p:sldLayoutId id="2147483744" r:id="rId7"/>
    <p:sldLayoutId id="2147483786" r:id="rId8"/>
    <p:sldLayoutId id="2147483796" r:id="rId9"/>
    <p:sldLayoutId id="2147483787" r:id="rId10"/>
    <p:sldLayoutId id="2147483794" r:id="rId11"/>
    <p:sldLayoutId id="2147483795" r:id="rId12"/>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image" Target="../media/image18.jpe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19.jpeg"/><Relationship Id="rId5" Type="http://schemas.openxmlformats.org/officeDocument/2006/relationships/image" Target="../media/image2.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10.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ags" Target="../tags/tag15.xml"/><Relationship Id="rId5" Type="http://schemas.openxmlformats.org/officeDocument/2006/relationships/image" Target="../media/image10.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20.jpeg"/><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hyperlink" Target="https://112.lv/lv/raksts/225/evakuacija-un-arkartas-gadijumu-soma?objects_path=lv%2Fraksts%2F225%2Fevakuacija-un-arkartas-gadijumu-soma" TargetMode="Externa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image" Target="../media/image23.jpeg"/><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tags" Target="../tags/tag5.xml"/><Relationship Id="rId5" Type="http://schemas.openxmlformats.org/officeDocument/2006/relationships/image" Target="../media/image11.jpeg"/><Relationship Id="rId4" Type="http://schemas.openxmlformats.org/officeDocument/2006/relationships/image" Target="../media/image10.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hyperlink" Target="https://112.lv/lv/raksts/225/evakuacija-un-arkartas-gadijumu-soma?objects_path=lv%2Fraksts%2F225%2Fevakuacija-un-arkartas-gadijumu-soma" TargetMode="Externa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hyperlink" Target="https://static.lsm.lv/documents/1ym.pdf" TargetMode="External"/><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3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29.xml"/><Relationship Id="rId7" Type="http://schemas.openxmlformats.org/officeDocument/2006/relationships/hyperlink" Target="https://www.vugd.gov.lv/lv/vadlinijas-potencialo-patvertnu-minimalajam-tehniskajam-prasibam" TargetMode="External"/><Relationship Id="rId2" Type="http://schemas.openxmlformats.org/officeDocument/2006/relationships/slideLayout" Target="../slideLayouts/slideLayout8.xml"/><Relationship Id="rId1" Type="http://schemas.openxmlformats.org/officeDocument/2006/relationships/tags" Target="../tags/tag21.xml"/><Relationship Id="rId6" Type="http://schemas.openxmlformats.org/officeDocument/2006/relationships/image" Target="../media/image25.png"/><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0.xml"/><Relationship Id="rId1" Type="http://schemas.openxmlformats.org/officeDocument/2006/relationships/slideLayout" Target="../slideLayouts/slideLayout8.xml"/><Relationship Id="rId4" Type="http://schemas.openxmlformats.org/officeDocument/2006/relationships/hyperlink" Target="https://static.lsm.lv/documents/1ym.pdf"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15.jpeg"/><Relationship Id="rId5" Type="http://schemas.openxmlformats.org/officeDocument/2006/relationships/image" Target="../media/image2.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hyperlink" Target="https://www.youtube.com/watch?v=TqCewTZAWdU&amp;t=57s"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hyperlink" Target="https://www.vugd.gov.lv/lv/pludi" TargetMode="External"/><Relationship Id="rId5" Type="http://schemas.openxmlformats.org/officeDocument/2006/relationships/image" Target="../media/image17.png"/><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a:extLst>
              <a:ext uri="{FF2B5EF4-FFF2-40B4-BE49-F238E27FC236}">
                <a16:creationId xmlns:a16="http://schemas.microsoft.com/office/drawing/2014/main" id="{6333E015-E3E5-C297-ECEF-3FBADE746AAA}"/>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11" name="Group 10">
            <a:extLst>
              <a:ext uri="{FF2B5EF4-FFF2-40B4-BE49-F238E27FC236}">
                <a16:creationId xmlns:a16="http://schemas.microsoft.com/office/drawing/2014/main" id="{31723724-4107-226F-F1E6-53B5BB42B4BC}"/>
              </a:ext>
            </a:extLst>
          </p:cNvPr>
          <p:cNvGrpSpPr/>
          <p:nvPr/>
        </p:nvGrpSpPr>
        <p:grpSpPr>
          <a:xfrm>
            <a:off x="12385675" y="0"/>
            <a:ext cx="659900" cy="5589977"/>
            <a:chOff x="12385675" y="0"/>
            <a:chExt cx="659900" cy="5589977"/>
          </a:xfrm>
        </p:grpSpPr>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1" name="Rectangle 20">
            <a:extLst>
              <a:ext uri="{FF2B5EF4-FFF2-40B4-BE49-F238E27FC236}">
                <a16:creationId xmlns:a16="http://schemas.microsoft.com/office/drawing/2014/main" id="{33708452-0105-B103-BDC2-411DE364739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23" name="Picture 4" descr="Valsts ugunsdzēsības un glābšanas dienests">
            <a:extLst>
              <a:ext uri="{FF2B5EF4-FFF2-40B4-BE49-F238E27FC236}">
                <a16:creationId xmlns:a16="http://schemas.microsoft.com/office/drawing/2014/main" id="{A53D7D9E-0DE9-6516-5146-F913966FB45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F2523734-6987-9999-BFB1-A306BD772D6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02336" y="5185164"/>
            <a:ext cx="1566523" cy="1587180"/>
          </a:xfrm>
          <a:prstGeom prst="rect">
            <a:avLst/>
          </a:prstGeom>
        </p:spPr>
      </p:pic>
      <p:sp>
        <p:nvSpPr>
          <p:cNvPr id="26" name="TextBox 25">
            <a:extLst>
              <a:ext uri="{FF2B5EF4-FFF2-40B4-BE49-F238E27FC236}">
                <a16:creationId xmlns:a16="http://schemas.microsoft.com/office/drawing/2014/main" id="{E7547A2F-AE9E-271D-1AF9-55BAE6CCE9CE}"/>
              </a:ext>
            </a:extLst>
          </p:cNvPr>
          <p:cNvSpPr txBox="1"/>
          <p:nvPr/>
        </p:nvSpPr>
        <p:spPr>
          <a:xfrm>
            <a:off x="0" y="857851"/>
            <a:ext cx="6238875" cy="1415120"/>
          </a:xfrm>
          <a:prstGeom prst="rect">
            <a:avLst/>
          </a:prstGeom>
          <a:solidFill>
            <a:srgbClr val="525A72"/>
          </a:solidFill>
        </p:spPr>
        <p:txBody>
          <a:bodyPr wrap="square" lIns="468000" tIns="108000" rIns="108000" bIns="108000" anchor="ctr">
            <a:noAutofit/>
          </a:bodyPr>
          <a:lstStyle/>
          <a:p>
            <a:pPr>
              <a:lnSpc>
                <a:spcPct val="90000"/>
              </a:lnSpc>
            </a:pPr>
            <a:r>
              <a:rPr lang="lv-LV" sz="4400">
                <a:solidFill>
                  <a:schemeClr val="bg1"/>
                </a:solidFill>
                <a:latin typeface="+mj-lt"/>
              </a:rPr>
              <a:t>6. Drošības padomi </a:t>
            </a:r>
            <a:endParaRPr lang="en-US" sz="4400">
              <a:solidFill>
                <a:schemeClr val="bg1"/>
              </a:solidFill>
              <a:latin typeface="+mj-lt"/>
            </a:endParaRPr>
          </a:p>
          <a:p>
            <a:pPr>
              <a:lnSpc>
                <a:spcPct val="90000"/>
              </a:lnSpc>
            </a:pPr>
            <a:r>
              <a:rPr lang="lv-LV" sz="4400">
                <a:solidFill>
                  <a:schemeClr val="bg1"/>
                </a:solidFill>
                <a:latin typeface="+mj-lt"/>
              </a:rPr>
              <a:t>katastrofu gadījumā</a:t>
            </a:r>
          </a:p>
        </p:txBody>
      </p:sp>
      <p:sp>
        <p:nvSpPr>
          <p:cNvPr id="2" name="TextBox 1">
            <a:extLst>
              <a:ext uri="{FF2B5EF4-FFF2-40B4-BE49-F238E27FC236}">
                <a16:creationId xmlns:a16="http://schemas.microsoft.com/office/drawing/2014/main" id="{6B361641-B2C8-1D54-5E2A-B80A7C3D9D33}"/>
              </a:ext>
            </a:extLst>
          </p:cNvPr>
          <p:cNvSpPr txBox="1"/>
          <p:nvPr/>
        </p:nvSpPr>
        <p:spPr>
          <a:xfrm>
            <a:off x="0" y="435446"/>
            <a:ext cx="5515617" cy="422405"/>
          </a:xfrm>
          <a:prstGeom prst="rect">
            <a:avLst/>
          </a:prstGeom>
          <a:solidFill>
            <a:srgbClr val="CFD6E8"/>
          </a:solidFill>
        </p:spPr>
        <p:txBody>
          <a:bodyPr wrap="square" lIns="468000" tIns="72000" rIns="72000" bIns="72000" anchor="t">
            <a:spAutoFit/>
          </a:bodyPr>
          <a:lstStyle/>
          <a:p>
            <a:r>
              <a:rPr lang="lv-LV">
                <a:latin typeface="+mj-lt"/>
              </a:rPr>
              <a:t>Studiju kurss "Civilā aizsardzība"</a:t>
            </a:r>
            <a:endParaRPr lang="en-GB"/>
          </a:p>
        </p:txBody>
      </p:sp>
      <p:sp>
        <p:nvSpPr>
          <p:cNvPr id="9" name="TextBox 8">
            <a:extLst>
              <a:ext uri="{FF2B5EF4-FFF2-40B4-BE49-F238E27FC236}">
                <a16:creationId xmlns:a16="http://schemas.microsoft.com/office/drawing/2014/main" id="{E69B39FE-875A-489D-52D4-533D10EBC3B1}"/>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a:solidFill>
                <a:schemeClr val="bg1"/>
              </a:solidFill>
              <a:latin typeface="+mj-lt"/>
            </a:endParaRPr>
          </a:p>
        </p:txBody>
      </p:sp>
    </p:spTree>
    <p:extLst>
      <p:ext uri="{BB962C8B-B14F-4D97-AF65-F5344CB8AC3E}">
        <p14:creationId xmlns:p14="http://schemas.microsoft.com/office/powerpoint/2010/main" val="13735547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B68EC639-039F-DB4E-37B0-99BED0A5766C}"/>
              </a:ext>
            </a:extLst>
          </p:cNvPr>
          <p:cNvGraphicFramePr>
            <a:graphicFrameLocks noChangeAspect="1"/>
          </p:cNvGraphicFramePr>
          <p:nvPr>
            <p:custDataLst>
              <p:tags r:id="rId1"/>
            </p:custDataLst>
            <p:extLst>
              <p:ext uri="{D42A27DB-BD31-4B8C-83A1-F6EECF244321}">
                <p14:modId xmlns:p14="http://schemas.microsoft.com/office/powerpoint/2010/main" val="563573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22" name="think-cell data - do not delete" hidden="1">
                        <a:extLst>
                          <a:ext uri="{FF2B5EF4-FFF2-40B4-BE49-F238E27FC236}">
                            <a16:creationId xmlns:a16="http://schemas.microsoft.com/office/drawing/2014/main" id="{B68EC639-039F-DB4E-37B0-99BED0A576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DC58C25F-8110-0C29-4A50-5DADA78B621C}"/>
              </a:ext>
            </a:extLst>
          </p:cNvPr>
          <p:cNvSpPr/>
          <p:nvPr/>
        </p:nvSpPr>
        <p:spPr>
          <a:xfrm>
            <a:off x="442912" y="1819275"/>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600" b="1"/>
              <a:t>Lietusgāzes un ilgstošas lietavas,</a:t>
            </a:r>
            <a:r>
              <a:rPr lang="es-ES" sz="1600" b="1"/>
              <a:t> </a:t>
            </a:r>
            <a:r>
              <a:rPr lang="es-ES" sz="1600" b="1" err="1"/>
              <a:t>lielgraudu</a:t>
            </a:r>
            <a:r>
              <a:rPr lang="es-ES" sz="1600" b="1"/>
              <a:t> </a:t>
            </a:r>
            <a:r>
              <a:rPr lang="lv-LV" sz="1600" b="1"/>
              <a:t>krusa</a:t>
            </a:r>
            <a:r>
              <a:rPr lang="es-ES" sz="1600" b="1"/>
              <a:t>:</a:t>
            </a:r>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Google Shape;1001;p85">
            <a:extLst>
              <a:ext uri="{FF2B5EF4-FFF2-40B4-BE49-F238E27FC236}">
                <a16:creationId xmlns:a16="http://schemas.microsoft.com/office/drawing/2014/main" id="{60395BC7-8D15-A171-C2BB-1060F2641A92}"/>
              </a:ext>
            </a:extLst>
          </p:cNvPr>
          <p:cNvSpPr/>
          <p:nvPr/>
        </p:nvSpPr>
        <p:spPr>
          <a:xfrm>
            <a:off x="11280725" y="1927275"/>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388" y="381"/>
                </a:moveTo>
                <a:cubicBezTo>
                  <a:pt x="409" y="393"/>
                  <a:pt x="409" y="393"/>
                  <a:pt x="409" y="393"/>
                </a:cubicBezTo>
                <a:cubicBezTo>
                  <a:pt x="385" y="437"/>
                  <a:pt x="385" y="437"/>
                  <a:pt x="385" y="437"/>
                </a:cubicBezTo>
                <a:cubicBezTo>
                  <a:pt x="363" y="425"/>
                  <a:pt x="363" y="425"/>
                  <a:pt x="363" y="425"/>
                </a:cubicBezTo>
                <a:lnTo>
                  <a:pt x="388" y="381"/>
                </a:lnTo>
                <a:close/>
                <a:moveTo>
                  <a:pt x="380" y="352"/>
                </a:moveTo>
                <a:cubicBezTo>
                  <a:pt x="356" y="396"/>
                  <a:pt x="356" y="396"/>
                  <a:pt x="356" y="396"/>
                </a:cubicBezTo>
                <a:cubicBezTo>
                  <a:pt x="334" y="384"/>
                  <a:pt x="334" y="384"/>
                  <a:pt x="334" y="384"/>
                </a:cubicBezTo>
                <a:cubicBezTo>
                  <a:pt x="359" y="340"/>
                  <a:pt x="359" y="340"/>
                  <a:pt x="359" y="340"/>
                </a:cubicBezTo>
                <a:lnTo>
                  <a:pt x="380" y="352"/>
                </a:lnTo>
                <a:close/>
                <a:moveTo>
                  <a:pt x="436" y="340"/>
                </a:moveTo>
                <a:cubicBezTo>
                  <a:pt x="457" y="352"/>
                  <a:pt x="457" y="352"/>
                  <a:pt x="457" y="352"/>
                </a:cubicBezTo>
                <a:cubicBezTo>
                  <a:pt x="433" y="396"/>
                  <a:pt x="433" y="396"/>
                  <a:pt x="433" y="396"/>
                </a:cubicBezTo>
                <a:cubicBezTo>
                  <a:pt x="411" y="384"/>
                  <a:pt x="411" y="384"/>
                  <a:pt x="411" y="384"/>
                </a:cubicBezTo>
                <a:lnTo>
                  <a:pt x="436" y="340"/>
                </a:lnTo>
                <a:close/>
                <a:moveTo>
                  <a:pt x="170" y="381"/>
                </a:moveTo>
                <a:cubicBezTo>
                  <a:pt x="192" y="393"/>
                  <a:pt x="192" y="393"/>
                  <a:pt x="192" y="393"/>
                </a:cubicBezTo>
                <a:cubicBezTo>
                  <a:pt x="167" y="437"/>
                  <a:pt x="167" y="437"/>
                  <a:pt x="167" y="437"/>
                </a:cubicBezTo>
                <a:cubicBezTo>
                  <a:pt x="146" y="425"/>
                  <a:pt x="146" y="425"/>
                  <a:pt x="146" y="425"/>
                </a:cubicBezTo>
                <a:lnTo>
                  <a:pt x="170" y="381"/>
                </a:lnTo>
                <a:close/>
                <a:moveTo>
                  <a:pt x="163" y="352"/>
                </a:moveTo>
                <a:cubicBezTo>
                  <a:pt x="139" y="396"/>
                  <a:pt x="139" y="396"/>
                  <a:pt x="139" y="396"/>
                </a:cubicBezTo>
                <a:cubicBezTo>
                  <a:pt x="117" y="384"/>
                  <a:pt x="117" y="384"/>
                  <a:pt x="117" y="384"/>
                </a:cubicBezTo>
                <a:cubicBezTo>
                  <a:pt x="141" y="340"/>
                  <a:pt x="141" y="340"/>
                  <a:pt x="141" y="340"/>
                </a:cubicBezTo>
                <a:lnTo>
                  <a:pt x="163" y="352"/>
                </a:lnTo>
                <a:close/>
                <a:moveTo>
                  <a:pt x="159" y="324"/>
                </a:moveTo>
                <a:cubicBezTo>
                  <a:pt x="199" y="324"/>
                  <a:pt x="199" y="324"/>
                  <a:pt x="199" y="324"/>
                </a:cubicBezTo>
                <a:cubicBezTo>
                  <a:pt x="174" y="369"/>
                  <a:pt x="174" y="369"/>
                  <a:pt x="174" y="369"/>
                </a:cubicBezTo>
                <a:cubicBezTo>
                  <a:pt x="243" y="369"/>
                  <a:pt x="243" y="369"/>
                  <a:pt x="243" y="369"/>
                </a:cubicBezTo>
                <a:cubicBezTo>
                  <a:pt x="204" y="507"/>
                  <a:pt x="204" y="507"/>
                  <a:pt x="204" y="507"/>
                </a:cubicBezTo>
                <a:cubicBezTo>
                  <a:pt x="355" y="324"/>
                  <a:pt x="355" y="324"/>
                  <a:pt x="355" y="324"/>
                </a:cubicBezTo>
                <a:cubicBezTo>
                  <a:pt x="433" y="324"/>
                  <a:pt x="433" y="324"/>
                  <a:pt x="433" y="324"/>
                </a:cubicBezTo>
                <a:cubicBezTo>
                  <a:pt x="469" y="324"/>
                  <a:pt x="499" y="294"/>
                  <a:pt x="499" y="258"/>
                </a:cubicBezTo>
                <a:cubicBezTo>
                  <a:pt x="499" y="227"/>
                  <a:pt x="477" y="200"/>
                  <a:pt x="448" y="193"/>
                </a:cubicBezTo>
                <a:cubicBezTo>
                  <a:pt x="449" y="192"/>
                  <a:pt x="449" y="190"/>
                  <a:pt x="449" y="189"/>
                </a:cubicBezTo>
                <a:cubicBezTo>
                  <a:pt x="449" y="158"/>
                  <a:pt x="423" y="132"/>
                  <a:pt x="392" y="132"/>
                </a:cubicBezTo>
                <a:cubicBezTo>
                  <a:pt x="383" y="132"/>
                  <a:pt x="373" y="135"/>
                  <a:pt x="365" y="139"/>
                </a:cubicBezTo>
                <a:cubicBezTo>
                  <a:pt x="344" y="106"/>
                  <a:pt x="307" y="86"/>
                  <a:pt x="267" y="86"/>
                </a:cubicBezTo>
                <a:cubicBezTo>
                  <a:pt x="217" y="86"/>
                  <a:pt x="173" y="118"/>
                  <a:pt x="157" y="164"/>
                </a:cubicBezTo>
                <a:cubicBezTo>
                  <a:pt x="113" y="165"/>
                  <a:pt x="79" y="200"/>
                  <a:pt x="79" y="244"/>
                </a:cubicBezTo>
                <a:cubicBezTo>
                  <a:pt x="79" y="288"/>
                  <a:pt x="115" y="324"/>
                  <a:pt x="159" y="324"/>
                </a:cubicBezTo>
                <a:close/>
                <a:moveTo>
                  <a:pt x="260" y="401"/>
                </a:moveTo>
                <a:cubicBezTo>
                  <a:pt x="276" y="344"/>
                  <a:pt x="276" y="344"/>
                  <a:pt x="276" y="344"/>
                </a:cubicBezTo>
                <a:cubicBezTo>
                  <a:pt x="216" y="344"/>
                  <a:pt x="216" y="344"/>
                  <a:pt x="216" y="344"/>
                </a:cubicBezTo>
                <a:cubicBezTo>
                  <a:pt x="272" y="243"/>
                  <a:pt x="272" y="243"/>
                  <a:pt x="272" y="243"/>
                </a:cubicBezTo>
                <a:cubicBezTo>
                  <a:pt x="335" y="243"/>
                  <a:pt x="335" y="243"/>
                  <a:pt x="335" y="243"/>
                </a:cubicBezTo>
                <a:cubicBezTo>
                  <a:pt x="289" y="324"/>
                  <a:pt x="289" y="324"/>
                  <a:pt x="289" y="324"/>
                </a:cubicBezTo>
                <a:cubicBezTo>
                  <a:pt x="323" y="324"/>
                  <a:pt x="323" y="324"/>
                  <a:pt x="323" y="324"/>
                </a:cubicBezTo>
                <a:lnTo>
                  <a:pt x="260" y="401"/>
                </a:lnTo>
                <a:close/>
                <a:moveTo>
                  <a:pt x="159" y="188"/>
                </a:moveTo>
                <a:cubicBezTo>
                  <a:pt x="161" y="188"/>
                  <a:pt x="162" y="188"/>
                  <a:pt x="164" y="189"/>
                </a:cubicBezTo>
                <a:cubicBezTo>
                  <a:pt x="175" y="190"/>
                  <a:pt x="175" y="190"/>
                  <a:pt x="175" y="190"/>
                </a:cubicBezTo>
                <a:cubicBezTo>
                  <a:pt x="177" y="180"/>
                  <a:pt x="177" y="180"/>
                  <a:pt x="177" y="180"/>
                </a:cubicBezTo>
                <a:cubicBezTo>
                  <a:pt x="188" y="139"/>
                  <a:pt x="225" y="111"/>
                  <a:pt x="267" y="111"/>
                </a:cubicBezTo>
                <a:cubicBezTo>
                  <a:pt x="303" y="111"/>
                  <a:pt x="334" y="131"/>
                  <a:pt x="350" y="163"/>
                </a:cubicBezTo>
                <a:cubicBezTo>
                  <a:pt x="358" y="178"/>
                  <a:pt x="358" y="178"/>
                  <a:pt x="358" y="178"/>
                </a:cubicBezTo>
                <a:cubicBezTo>
                  <a:pt x="370" y="166"/>
                  <a:pt x="370" y="166"/>
                  <a:pt x="370" y="166"/>
                </a:cubicBezTo>
                <a:cubicBezTo>
                  <a:pt x="376" y="160"/>
                  <a:pt x="384" y="157"/>
                  <a:pt x="392" y="157"/>
                </a:cubicBezTo>
                <a:cubicBezTo>
                  <a:pt x="410" y="157"/>
                  <a:pt x="424" y="171"/>
                  <a:pt x="424" y="189"/>
                </a:cubicBezTo>
                <a:cubicBezTo>
                  <a:pt x="424" y="192"/>
                  <a:pt x="423" y="196"/>
                  <a:pt x="422" y="199"/>
                </a:cubicBezTo>
                <a:cubicBezTo>
                  <a:pt x="416" y="216"/>
                  <a:pt x="416" y="216"/>
                  <a:pt x="416" y="216"/>
                </a:cubicBezTo>
                <a:cubicBezTo>
                  <a:pt x="433" y="216"/>
                  <a:pt x="433" y="216"/>
                  <a:pt x="433" y="216"/>
                </a:cubicBezTo>
                <a:cubicBezTo>
                  <a:pt x="456" y="216"/>
                  <a:pt x="475" y="235"/>
                  <a:pt x="475" y="258"/>
                </a:cubicBezTo>
                <a:cubicBezTo>
                  <a:pt x="475" y="281"/>
                  <a:pt x="456" y="299"/>
                  <a:pt x="433" y="299"/>
                </a:cubicBezTo>
                <a:cubicBezTo>
                  <a:pt x="375" y="299"/>
                  <a:pt x="375" y="299"/>
                  <a:pt x="375" y="299"/>
                </a:cubicBezTo>
                <a:cubicBezTo>
                  <a:pt x="376" y="299"/>
                  <a:pt x="376" y="299"/>
                  <a:pt x="376" y="299"/>
                </a:cubicBezTo>
                <a:cubicBezTo>
                  <a:pt x="331" y="299"/>
                  <a:pt x="331" y="299"/>
                  <a:pt x="331" y="299"/>
                </a:cubicBezTo>
                <a:cubicBezTo>
                  <a:pt x="377" y="218"/>
                  <a:pt x="377" y="218"/>
                  <a:pt x="377" y="218"/>
                </a:cubicBezTo>
                <a:cubicBezTo>
                  <a:pt x="257" y="218"/>
                  <a:pt x="257" y="218"/>
                  <a:pt x="257" y="218"/>
                </a:cubicBezTo>
                <a:cubicBezTo>
                  <a:pt x="212" y="299"/>
                  <a:pt x="212" y="299"/>
                  <a:pt x="212" y="299"/>
                </a:cubicBezTo>
                <a:cubicBezTo>
                  <a:pt x="159" y="299"/>
                  <a:pt x="159" y="299"/>
                  <a:pt x="159" y="299"/>
                </a:cubicBezTo>
                <a:cubicBezTo>
                  <a:pt x="128" y="299"/>
                  <a:pt x="103" y="274"/>
                  <a:pt x="103" y="244"/>
                </a:cubicBezTo>
                <a:cubicBezTo>
                  <a:pt x="103" y="213"/>
                  <a:pt x="128" y="188"/>
                  <a:pt x="159"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660"/>
            <a:ext cx="10641434"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Klausieties meteorologu brīdinājumus, sekojiet situācijas attīstībai.</a:t>
            </a:r>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2" y="3221142"/>
            <a:ext cx="10620000"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Lietusgāzes</a:t>
            </a:r>
            <a:r>
              <a:rPr lang="lv-LV"/>
              <a:t>, </a:t>
            </a:r>
            <a:r>
              <a:rPr lang="en-GB" err="1"/>
              <a:t>ilgstošas</a:t>
            </a:r>
            <a:r>
              <a:rPr lang="en-GB"/>
              <a:t> </a:t>
            </a:r>
            <a:r>
              <a:rPr lang="en-GB" err="1"/>
              <a:t>lietavas</a:t>
            </a:r>
            <a:r>
              <a:rPr lang="lv-LV"/>
              <a:t> </a:t>
            </a:r>
            <a:r>
              <a:rPr lang="en-GB"/>
              <a:t>un </a:t>
            </a:r>
            <a:r>
              <a:rPr lang="en-GB" err="1"/>
              <a:t>krusa</a:t>
            </a:r>
            <a:br>
              <a:rPr lang="en-GB"/>
            </a:br>
            <a:r>
              <a:rPr lang="lv-LV">
                <a:solidFill>
                  <a:srgbClr val="A8192D"/>
                </a:solidFill>
              </a:rPr>
              <a:t>K</a:t>
            </a:r>
            <a:r>
              <a:rPr lang="en-GB">
                <a:solidFill>
                  <a:srgbClr val="A8192D"/>
                </a:solidFill>
              </a:rPr>
              <a:t>ā </a:t>
            </a:r>
            <a:r>
              <a:rPr lang="en-GB" err="1">
                <a:solidFill>
                  <a:srgbClr val="A8192D"/>
                </a:solidFill>
              </a:rPr>
              <a:t>rīkoties</a:t>
            </a:r>
            <a:r>
              <a:rPr lang="en-GB">
                <a:solidFill>
                  <a:srgbClr val="A8192D"/>
                </a:solidFill>
              </a:rPr>
              <a:t>?</a:t>
            </a:r>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3974881"/>
            <a:ext cx="1062000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7653" y="4731072"/>
            <a:ext cx="1062000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1107653" y="5487263"/>
            <a:ext cx="1062000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Rectangle 39">
            <a:extLst>
              <a:ext uri="{FF2B5EF4-FFF2-40B4-BE49-F238E27FC236}">
                <a16:creationId xmlns:a16="http://schemas.microsoft.com/office/drawing/2014/main" id="{0397F1B3-1DAC-781B-5BE5-08FA024DC19C}"/>
              </a:ext>
            </a:extLst>
          </p:cNvPr>
          <p:cNvSpPr/>
          <p:nvPr/>
        </p:nvSpPr>
        <p:spPr>
          <a:xfrm>
            <a:off x="1107653" y="3291624"/>
            <a:ext cx="1064143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I</a:t>
            </a:r>
            <a:r>
              <a:rPr lang="lv-LV" sz="1400" b="0" i="0">
                <a:solidFill>
                  <a:schemeClr val="tx1"/>
                </a:solidFill>
                <a:effectLst/>
              </a:rPr>
              <a:t>evērojiet dienestu, iestāžu norādījumus un ieteikumu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4047815"/>
            <a:ext cx="1064143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J</a:t>
            </a:r>
            <a:r>
              <a:rPr lang="lv-LV" sz="1400" b="0" i="0">
                <a:solidFill>
                  <a:schemeClr val="tx1"/>
                </a:solidFill>
                <a:effectLst/>
              </a:rPr>
              <a:t>a ir iespējams, palieciet vai uzturieties telpā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3" y="4804006"/>
            <a:ext cx="1064143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atrodieties ārā, meklējiet, kur patverties (ēkā).</a:t>
            </a:r>
          </a:p>
        </p:txBody>
      </p:sp>
      <p:sp>
        <p:nvSpPr>
          <p:cNvPr id="20" name="Rectangle 19">
            <a:extLst>
              <a:ext uri="{FF2B5EF4-FFF2-40B4-BE49-F238E27FC236}">
                <a16:creationId xmlns:a16="http://schemas.microsoft.com/office/drawing/2014/main" id="{A4EAD244-3E35-CF16-9610-C9DD5B3A3D07}"/>
              </a:ext>
            </a:extLst>
          </p:cNvPr>
          <p:cNvSpPr/>
          <p:nvPr/>
        </p:nvSpPr>
        <p:spPr>
          <a:xfrm>
            <a:off x="1107652" y="5560198"/>
            <a:ext cx="10619999"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I</a:t>
            </a:r>
            <a:r>
              <a:rPr lang="lv-LV" sz="1400" b="0" i="0">
                <a:solidFill>
                  <a:srgbClr val="212529"/>
                </a:solidFill>
                <a:effectLst/>
              </a:rPr>
              <a:t>zvairieties no braukšanas ar mehanizētiem un nemehanizētiem transportlīdzekļiem vai piestājiet malā spēcīgu lietusgāžu gadījumā, vai meklējiet, kur patverties ar transportu krusas gadījumā.</a:t>
            </a:r>
          </a:p>
        </p:txBody>
      </p:sp>
      <p:grpSp>
        <p:nvGrpSpPr>
          <p:cNvPr id="38" name="Group 37">
            <a:extLst>
              <a:ext uri="{FF2B5EF4-FFF2-40B4-BE49-F238E27FC236}">
                <a16:creationId xmlns:a16="http://schemas.microsoft.com/office/drawing/2014/main" id="{219BBEA8-5E3D-C2C1-202B-E065631AC45E}"/>
              </a:ext>
            </a:extLst>
          </p:cNvPr>
          <p:cNvGrpSpPr/>
          <p:nvPr/>
        </p:nvGrpSpPr>
        <p:grpSpPr>
          <a:xfrm>
            <a:off x="442912" y="2536825"/>
            <a:ext cx="576263" cy="3635373"/>
            <a:chOff x="442912" y="2536825"/>
            <a:chExt cx="576263" cy="3635373"/>
          </a:xfrm>
        </p:grpSpPr>
        <p:sp>
          <p:nvSpPr>
            <p:cNvPr id="57" name="Rectangle 56">
              <a:extLst>
                <a:ext uri="{FF2B5EF4-FFF2-40B4-BE49-F238E27FC236}">
                  <a16:creationId xmlns:a16="http://schemas.microsoft.com/office/drawing/2014/main" id="{A073C5EE-5299-ADD0-94D7-3170276FA166}"/>
                </a:ext>
              </a:extLst>
            </p:cNvPr>
            <p:cNvSpPr/>
            <p:nvPr/>
          </p:nvSpPr>
          <p:spPr>
            <a:xfrm>
              <a:off x="442912" y="2536825"/>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5" y="270643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2912" y="3292039"/>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5" y="346165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2" y="40488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5" y="42185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2912" y="480495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5" y="497456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9" name="Rectangle 88">
              <a:extLst>
                <a:ext uri="{FF2B5EF4-FFF2-40B4-BE49-F238E27FC236}">
                  <a16:creationId xmlns:a16="http://schemas.microsoft.com/office/drawing/2014/main" id="{7AD0F22C-299C-4471-6C33-C68875EFE67F}"/>
                </a:ext>
              </a:extLst>
            </p:cNvPr>
            <p:cNvSpPr/>
            <p:nvPr/>
          </p:nvSpPr>
          <p:spPr>
            <a:xfrm>
              <a:off x="442912"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9305"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a:t>
            </a:fld>
            <a:endParaRPr lang="en-GB"/>
          </a:p>
        </p:txBody>
      </p:sp>
      <p:grpSp>
        <p:nvGrpSpPr>
          <p:cNvPr id="3" name="Group 2">
            <a:extLst>
              <a:ext uri="{FF2B5EF4-FFF2-40B4-BE49-F238E27FC236}">
                <a16:creationId xmlns:a16="http://schemas.microsoft.com/office/drawing/2014/main" id="{B6EA76FF-7147-D9CF-5816-786136EB05A0}"/>
              </a:ext>
            </a:extLst>
          </p:cNvPr>
          <p:cNvGrpSpPr/>
          <p:nvPr/>
        </p:nvGrpSpPr>
        <p:grpSpPr>
          <a:xfrm>
            <a:off x="9190780" y="159786"/>
            <a:ext cx="2558308" cy="217488"/>
            <a:chOff x="9190780" y="159786"/>
            <a:chExt cx="2558308" cy="217488"/>
          </a:xfrm>
        </p:grpSpPr>
        <p:sp>
          <p:nvSpPr>
            <p:cNvPr id="4" name="Rectangle 3">
              <a:extLst>
                <a:ext uri="{FF2B5EF4-FFF2-40B4-BE49-F238E27FC236}">
                  <a16:creationId xmlns:a16="http://schemas.microsoft.com/office/drawing/2014/main" id="{E6298F79-11C7-6CC0-B0A6-4EA84B2A5812}"/>
                </a:ext>
              </a:extLst>
            </p:cNvPr>
            <p:cNvSpPr/>
            <p:nvPr/>
          </p:nvSpPr>
          <p:spPr>
            <a:xfrm>
              <a:off x="9432606" y="159786"/>
              <a:ext cx="1833251"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1C2474C6-63BE-19AD-43F2-B0FC981E64DE}"/>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B1601427-6B81-1797-6712-6BCDE3F21A63}"/>
                </a:ext>
              </a:extLst>
            </p:cNvPr>
            <p:cNvSpPr/>
            <p:nvPr/>
          </p:nvSpPr>
          <p:spPr>
            <a:xfrm>
              <a:off x="919078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86050565-F8D1-69C2-E1BE-58E5EC71A3CD}"/>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2141809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A8E461D-4824-21A5-8141-DE3D04012D10}"/>
              </a:ext>
            </a:extLst>
          </p:cNvPr>
          <p:cNvGraphicFramePr>
            <a:graphicFrameLocks noChangeAspect="1"/>
          </p:cNvGraphicFramePr>
          <p:nvPr>
            <p:custDataLst>
              <p:tags r:id="rId1"/>
            </p:custDataLst>
            <p:extLst>
              <p:ext uri="{D42A27DB-BD31-4B8C-83A1-F6EECF244321}">
                <p14:modId xmlns:p14="http://schemas.microsoft.com/office/powerpoint/2010/main" val="3431506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6" name="think-cell data - do not delete" hidden="1">
                        <a:extLst>
                          <a:ext uri="{FF2B5EF4-FFF2-40B4-BE49-F238E27FC236}">
                            <a16:creationId xmlns:a16="http://schemas.microsoft.com/office/drawing/2014/main" id="{8A8E461D-4824-21A5-8141-DE3D04012D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DC58C25F-8110-0C29-4A50-5DADA78B621C}"/>
              </a:ext>
            </a:extLst>
          </p:cNvPr>
          <p:cNvSpPr/>
          <p:nvPr/>
        </p:nvSpPr>
        <p:spPr>
          <a:xfrm>
            <a:off x="440299" y="1819275"/>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err="1"/>
              <a:t>Kā</a:t>
            </a:r>
            <a:r>
              <a:rPr lang="es-ES" sz="1600" b="1"/>
              <a:t> </a:t>
            </a:r>
            <a:r>
              <a:rPr lang="es-ES" sz="1600" b="1" err="1"/>
              <a:t>rīkoties</a:t>
            </a:r>
            <a:r>
              <a:rPr lang="es-ES" sz="1600" b="1"/>
              <a:t>, ja ir </a:t>
            </a:r>
            <a:r>
              <a:rPr lang="es-ES" sz="1600" b="1" err="1"/>
              <a:t>sācies</a:t>
            </a:r>
            <a:r>
              <a:rPr lang="es-ES" sz="1600" b="1"/>
              <a:t> </a:t>
            </a:r>
            <a:r>
              <a:rPr lang="es-ES" sz="1600" b="1" err="1"/>
              <a:t>negaiss</a:t>
            </a:r>
            <a:r>
              <a:rPr lang="es-ES" sz="1600" b="1"/>
              <a:t> un </a:t>
            </a:r>
            <a:r>
              <a:rPr lang="lv-LV" sz="1600" b="1"/>
              <a:t>Jūs</a:t>
            </a:r>
            <a:r>
              <a:rPr lang="es-ES" sz="1600" b="1"/>
              <a:t> </a:t>
            </a:r>
            <a:r>
              <a:rPr lang="es-ES" sz="1600" b="1" err="1"/>
              <a:t>atrod</a:t>
            </a:r>
            <a:r>
              <a:rPr lang="lv-LV" sz="1600" b="1"/>
              <a:t>aties</a:t>
            </a:r>
            <a:r>
              <a:rPr lang="es-ES" sz="1600" b="1"/>
              <a:t> </a:t>
            </a:r>
            <a:r>
              <a:rPr lang="es-ES" sz="1600" b="1" err="1"/>
              <a:t>ēkā</a:t>
            </a:r>
            <a:r>
              <a:rPr lang="es-ES" sz="1600" b="1"/>
              <a:t>?</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Negaiss</a:t>
            </a:r>
            <a:r>
              <a:rPr lang="en-GB"/>
              <a:t> un </a:t>
            </a:r>
            <a:r>
              <a:rPr lang="en-GB" err="1"/>
              <a:t>stiprs</a:t>
            </a:r>
            <a:r>
              <a:rPr lang="en-GB"/>
              <a:t> </a:t>
            </a:r>
            <a:r>
              <a:rPr lang="en-GB" err="1"/>
              <a:t>vējš</a:t>
            </a:r>
            <a:br>
              <a:rPr lang="lv-LV"/>
            </a:br>
            <a:r>
              <a:rPr lang="lv-LV">
                <a:solidFill>
                  <a:srgbClr val="A8192D"/>
                </a:solidFill>
              </a:rPr>
              <a:t>Kā rīkoties? (1/4)</a:t>
            </a: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1</a:t>
            </a:fld>
            <a:endParaRPr lang="en-GB"/>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Rectangle 32">
            <a:extLst>
              <a:ext uri="{FF2B5EF4-FFF2-40B4-BE49-F238E27FC236}">
                <a16:creationId xmlns:a16="http://schemas.microsoft.com/office/drawing/2014/main" id="{A9EA678B-1C92-D1EC-5EF2-97D0A4907E68}"/>
              </a:ext>
            </a:extLst>
          </p:cNvPr>
          <p:cNvSpPr/>
          <p:nvPr/>
        </p:nvSpPr>
        <p:spPr>
          <a:xfrm>
            <a:off x="1100138" y="5632200"/>
            <a:ext cx="1071747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Ja ir nogāzies koks, pārrauti vadi, notikusi avārija vai cits negadījums, zvaniet 1 1 2.</a:t>
            </a:r>
          </a:p>
        </p:txBody>
      </p:sp>
      <p:grpSp>
        <p:nvGrpSpPr>
          <p:cNvPr id="124" name="Group 123">
            <a:extLst>
              <a:ext uri="{FF2B5EF4-FFF2-40B4-BE49-F238E27FC236}">
                <a16:creationId xmlns:a16="http://schemas.microsoft.com/office/drawing/2014/main" id="{22B6A670-1167-6234-3E64-FBCDAC877C22}"/>
              </a:ext>
            </a:extLst>
          </p:cNvPr>
          <p:cNvGrpSpPr/>
          <p:nvPr/>
        </p:nvGrpSpPr>
        <p:grpSpPr>
          <a:xfrm>
            <a:off x="442913" y="5632200"/>
            <a:ext cx="576263" cy="540000"/>
            <a:chOff x="5073880" y="6285317"/>
            <a:chExt cx="576263" cy="540000"/>
          </a:xfrm>
        </p:grpSpPr>
        <p:sp>
          <p:nvSpPr>
            <p:cNvPr id="37" name="Rectangle 36">
              <a:extLst>
                <a:ext uri="{FF2B5EF4-FFF2-40B4-BE49-F238E27FC236}">
                  <a16:creationId xmlns:a16="http://schemas.microsoft.com/office/drawing/2014/main" id="{7795EDCD-A1E3-81BC-D6E4-B8FD957AD217}"/>
                </a:ext>
              </a:extLst>
            </p:cNvPr>
            <p:cNvSpPr/>
            <p:nvPr/>
          </p:nvSpPr>
          <p:spPr>
            <a:xfrm>
              <a:off x="5073880" y="6285317"/>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8" name="L-Shape 37">
              <a:extLst>
                <a:ext uri="{FF2B5EF4-FFF2-40B4-BE49-F238E27FC236}">
                  <a16:creationId xmlns:a16="http://schemas.microsoft.com/office/drawing/2014/main" id="{B7F4C205-C186-DA71-F54C-8E2254F0C2E9}"/>
                </a:ext>
              </a:extLst>
            </p:cNvPr>
            <p:cNvSpPr/>
            <p:nvPr/>
          </p:nvSpPr>
          <p:spPr>
            <a:xfrm rot="13500000">
              <a:off x="5190274" y="6418929"/>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71" name="Straight Connector 70">
            <a:extLst>
              <a:ext uri="{FF2B5EF4-FFF2-40B4-BE49-F238E27FC236}">
                <a16:creationId xmlns:a16="http://schemas.microsoft.com/office/drawing/2014/main" id="{2D44A2E0-D428-5D56-66C4-E6041127AEF8}"/>
              </a:ext>
            </a:extLst>
          </p:cNvPr>
          <p:cNvCxnSpPr>
            <a:cxnSpLocks/>
          </p:cNvCxnSpPr>
          <p:nvPr/>
        </p:nvCxnSpPr>
        <p:spPr>
          <a:xfrm>
            <a:off x="1125966" y="3115330"/>
            <a:ext cx="10620000"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4" name="Straight Connector 73">
            <a:extLst>
              <a:ext uri="{FF2B5EF4-FFF2-40B4-BE49-F238E27FC236}">
                <a16:creationId xmlns:a16="http://schemas.microsoft.com/office/drawing/2014/main" id="{A4A77D43-393C-B7CA-2B9C-8F1B47DAF62D}"/>
              </a:ext>
            </a:extLst>
          </p:cNvPr>
          <p:cNvCxnSpPr>
            <a:cxnSpLocks/>
          </p:cNvCxnSpPr>
          <p:nvPr/>
        </p:nvCxnSpPr>
        <p:spPr>
          <a:xfrm>
            <a:off x="1135963" y="3732796"/>
            <a:ext cx="10620000"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5" name="Rectangle 74">
            <a:extLst>
              <a:ext uri="{FF2B5EF4-FFF2-40B4-BE49-F238E27FC236}">
                <a16:creationId xmlns:a16="http://schemas.microsoft.com/office/drawing/2014/main" id="{AB24C0B9-0E0F-E3B2-1237-5CBEE719A1F1}"/>
              </a:ext>
            </a:extLst>
          </p:cNvPr>
          <p:cNvSpPr/>
          <p:nvPr/>
        </p:nvSpPr>
        <p:spPr>
          <a:xfrm>
            <a:off x="1100138" y="2538413"/>
            <a:ext cx="1064582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it-IT" sz="1400">
                <a:solidFill>
                  <a:srgbClr val="212529"/>
                </a:solidFill>
              </a:rPr>
              <a:t>Paliec</a:t>
            </a:r>
            <a:r>
              <a:rPr lang="lv-LV" sz="1400">
                <a:solidFill>
                  <a:srgbClr val="212529"/>
                </a:solidFill>
              </a:rPr>
              <a:t>iet</a:t>
            </a:r>
            <a:r>
              <a:rPr lang="it-IT" sz="1400">
                <a:solidFill>
                  <a:srgbClr val="212529"/>
                </a:solidFill>
              </a:rPr>
              <a:t> ēkā un atturi</a:t>
            </a:r>
            <a:r>
              <a:rPr lang="lv-LV" sz="1400" err="1">
                <a:solidFill>
                  <a:srgbClr val="212529"/>
                </a:solidFill>
              </a:rPr>
              <a:t>et</a:t>
            </a:r>
            <a:r>
              <a:rPr lang="it-IT" sz="1400">
                <a:solidFill>
                  <a:srgbClr val="212529"/>
                </a:solidFill>
              </a:rPr>
              <a:t> citus no pastaigas.</a:t>
            </a:r>
            <a:endParaRPr lang="lv-LV" sz="1400" b="0" i="0">
              <a:solidFill>
                <a:srgbClr val="212529"/>
              </a:solidFill>
              <a:effectLst/>
            </a:endParaRPr>
          </a:p>
        </p:txBody>
      </p:sp>
      <p:sp>
        <p:nvSpPr>
          <p:cNvPr id="76" name="Rectangle 75">
            <a:extLst>
              <a:ext uri="{FF2B5EF4-FFF2-40B4-BE49-F238E27FC236}">
                <a16:creationId xmlns:a16="http://schemas.microsoft.com/office/drawing/2014/main" id="{8793B610-11BB-3DD5-343E-D5A1842E54DF}"/>
              </a:ext>
            </a:extLst>
          </p:cNvPr>
          <p:cNvSpPr/>
          <p:nvPr/>
        </p:nvSpPr>
        <p:spPr>
          <a:xfrm>
            <a:off x="1135963" y="3156796"/>
            <a:ext cx="1064582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Izvairieties no saskaršanās ar elektroierīcēm, vadiem un metāla priekšmetiem.</a:t>
            </a:r>
          </a:p>
        </p:txBody>
      </p:sp>
      <p:sp>
        <p:nvSpPr>
          <p:cNvPr id="77" name="Rectangle 76">
            <a:extLst>
              <a:ext uri="{FF2B5EF4-FFF2-40B4-BE49-F238E27FC236}">
                <a16:creationId xmlns:a16="http://schemas.microsoft.com/office/drawing/2014/main" id="{7507519A-1DE4-B47D-BFBC-5EC74A788B23}"/>
              </a:ext>
            </a:extLst>
          </p:cNvPr>
          <p:cNvSpPr/>
          <p:nvPr/>
        </p:nvSpPr>
        <p:spPr>
          <a:xfrm>
            <a:off x="1100138" y="3775929"/>
            <a:ext cx="1064582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Elektroierīces atvienojiet no strāvas.</a:t>
            </a:r>
          </a:p>
        </p:txBody>
      </p:sp>
      <p:grpSp>
        <p:nvGrpSpPr>
          <p:cNvPr id="129" name="Group 128">
            <a:extLst>
              <a:ext uri="{FF2B5EF4-FFF2-40B4-BE49-F238E27FC236}">
                <a16:creationId xmlns:a16="http://schemas.microsoft.com/office/drawing/2014/main" id="{3A1FB8DB-BEBA-9531-B60F-20C3F132CF2F}"/>
              </a:ext>
            </a:extLst>
          </p:cNvPr>
          <p:cNvGrpSpPr/>
          <p:nvPr/>
        </p:nvGrpSpPr>
        <p:grpSpPr>
          <a:xfrm>
            <a:off x="442913" y="2536825"/>
            <a:ext cx="576263" cy="540000"/>
            <a:chOff x="5080210" y="2536825"/>
            <a:chExt cx="576263" cy="540000"/>
          </a:xfrm>
        </p:grpSpPr>
        <p:sp>
          <p:nvSpPr>
            <p:cNvPr id="78" name="Rectangle 77">
              <a:extLst>
                <a:ext uri="{FF2B5EF4-FFF2-40B4-BE49-F238E27FC236}">
                  <a16:creationId xmlns:a16="http://schemas.microsoft.com/office/drawing/2014/main" id="{C5C3D0C6-9AE4-2D85-F716-35A1E082CF03}"/>
                </a:ext>
              </a:extLst>
            </p:cNvPr>
            <p:cNvSpPr/>
            <p:nvPr/>
          </p:nvSpPr>
          <p:spPr>
            <a:xfrm>
              <a:off x="5080210" y="2536825"/>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1" name="L-Shape 80">
              <a:extLst>
                <a:ext uri="{FF2B5EF4-FFF2-40B4-BE49-F238E27FC236}">
                  <a16:creationId xmlns:a16="http://schemas.microsoft.com/office/drawing/2014/main" id="{194ED9A6-B5C3-ED3F-4C21-CA96CC3CE39E}"/>
                </a:ext>
              </a:extLst>
            </p:cNvPr>
            <p:cNvSpPr/>
            <p:nvPr/>
          </p:nvSpPr>
          <p:spPr>
            <a:xfrm rot="13500000">
              <a:off x="5196604" y="2670437"/>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28" name="Group 127">
            <a:extLst>
              <a:ext uri="{FF2B5EF4-FFF2-40B4-BE49-F238E27FC236}">
                <a16:creationId xmlns:a16="http://schemas.microsoft.com/office/drawing/2014/main" id="{7EA9234F-4081-9D78-360F-4BB6F2EDDCBE}"/>
              </a:ext>
            </a:extLst>
          </p:cNvPr>
          <p:cNvGrpSpPr/>
          <p:nvPr/>
        </p:nvGrpSpPr>
        <p:grpSpPr>
          <a:xfrm>
            <a:off x="442913" y="3155900"/>
            <a:ext cx="576263" cy="540000"/>
            <a:chOff x="5080210" y="3294044"/>
            <a:chExt cx="576263" cy="540000"/>
          </a:xfrm>
        </p:grpSpPr>
        <p:sp>
          <p:nvSpPr>
            <p:cNvPr id="82" name="Rectangle 81">
              <a:extLst>
                <a:ext uri="{FF2B5EF4-FFF2-40B4-BE49-F238E27FC236}">
                  <a16:creationId xmlns:a16="http://schemas.microsoft.com/office/drawing/2014/main" id="{48434C7A-DD1B-41BC-9A26-100219A14BCB}"/>
                </a:ext>
              </a:extLst>
            </p:cNvPr>
            <p:cNvSpPr/>
            <p:nvPr/>
          </p:nvSpPr>
          <p:spPr>
            <a:xfrm>
              <a:off x="5080210" y="329404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5" name="L-Shape 84">
              <a:extLst>
                <a:ext uri="{FF2B5EF4-FFF2-40B4-BE49-F238E27FC236}">
                  <a16:creationId xmlns:a16="http://schemas.microsoft.com/office/drawing/2014/main" id="{C814D90B-57A8-75C9-D698-489E6EE36C26}"/>
                </a:ext>
              </a:extLst>
            </p:cNvPr>
            <p:cNvSpPr/>
            <p:nvPr/>
          </p:nvSpPr>
          <p:spPr>
            <a:xfrm rot="13500000">
              <a:off x="5196604" y="342765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27" name="Group 126">
            <a:extLst>
              <a:ext uri="{FF2B5EF4-FFF2-40B4-BE49-F238E27FC236}">
                <a16:creationId xmlns:a16="http://schemas.microsoft.com/office/drawing/2014/main" id="{A9187C67-83D0-9053-644E-EA9705E689B3}"/>
              </a:ext>
            </a:extLst>
          </p:cNvPr>
          <p:cNvGrpSpPr/>
          <p:nvPr/>
        </p:nvGrpSpPr>
        <p:grpSpPr>
          <a:xfrm>
            <a:off x="442913" y="3774975"/>
            <a:ext cx="576263" cy="540000"/>
            <a:chOff x="5080210" y="4049428"/>
            <a:chExt cx="576263" cy="540000"/>
          </a:xfrm>
        </p:grpSpPr>
        <p:sp>
          <p:nvSpPr>
            <p:cNvPr id="86" name="Rectangle 85">
              <a:extLst>
                <a:ext uri="{FF2B5EF4-FFF2-40B4-BE49-F238E27FC236}">
                  <a16:creationId xmlns:a16="http://schemas.microsoft.com/office/drawing/2014/main" id="{9D762416-B8CD-9A4F-18FB-8F0F5E76000A}"/>
                </a:ext>
              </a:extLst>
            </p:cNvPr>
            <p:cNvSpPr/>
            <p:nvPr/>
          </p:nvSpPr>
          <p:spPr>
            <a:xfrm>
              <a:off x="5080210" y="4049428"/>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7" name="L-Shape 86">
              <a:extLst>
                <a:ext uri="{FF2B5EF4-FFF2-40B4-BE49-F238E27FC236}">
                  <a16:creationId xmlns:a16="http://schemas.microsoft.com/office/drawing/2014/main" id="{8C6339FB-5EFB-D117-4D8C-E3D762D8DA58}"/>
                </a:ext>
              </a:extLst>
            </p:cNvPr>
            <p:cNvSpPr/>
            <p:nvPr/>
          </p:nvSpPr>
          <p:spPr>
            <a:xfrm rot="13500000">
              <a:off x="5196604" y="418304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88" name="Straight Connector 87">
            <a:extLst>
              <a:ext uri="{FF2B5EF4-FFF2-40B4-BE49-F238E27FC236}">
                <a16:creationId xmlns:a16="http://schemas.microsoft.com/office/drawing/2014/main" id="{8CBAC38D-E058-DAFB-20AD-BB4ADE12F0C6}"/>
              </a:ext>
            </a:extLst>
          </p:cNvPr>
          <p:cNvCxnSpPr>
            <a:cxnSpLocks/>
          </p:cNvCxnSpPr>
          <p:nvPr/>
        </p:nvCxnSpPr>
        <p:spPr>
          <a:xfrm>
            <a:off x="1135963" y="4351554"/>
            <a:ext cx="10620000"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8" name="Straight Connector 97">
            <a:extLst>
              <a:ext uri="{FF2B5EF4-FFF2-40B4-BE49-F238E27FC236}">
                <a16:creationId xmlns:a16="http://schemas.microsoft.com/office/drawing/2014/main" id="{4EA10CA9-6EBD-A2F6-FBBD-551A02CF4701}"/>
              </a:ext>
            </a:extLst>
          </p:cNvPr>
          <p:cNvCxnSpPr>
            <a:cxnSpLocks/>
          </p:cNvCxnSpPr>
          <p:nvPr/>
        </p:nvCxnSpPr>
        <p:spPr>
          <a:xfrm>
            <a:off x="1125966" y="5587121"/>
            <a:ext cx="10620000"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9" name="Rectangle 98">
            <a:extLst>
              <a:ext uri="{FF2B5EF4-FFF2-40B4-BE49-F238E27FC236}">
                <a16:creationId xmlns:a16="http://schemas.microsoft.com/office/drawing/2014/main" id="{805B5EBD-6AAC-3E2E-7379-47BAFD8ABB47}"/>
              </a:ext>
            </a:extLst>
          </p:cNvPr>
          <p:cNvSpPr/>
          <p:nvPr/>
        </p:nvSpPr>
        <p:spPr>
          <a:xfrm>
            <a:off x="1100138" y="4394687"/>
            <a:ext cx="1064582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Nemazgājiet rokas, traukus, veļu. Neejiet dušā. Nekuriniet plīti vai krāsni.</a:t>
            </a:r>
            <a:endParaRPr lang="lv-LV" sz="1400" b="0" i="0">
              <a:solidFill>
                <a:schemeClr val="tx1"/>
              </a:solidFill>
              <a:effectLst/>
            </a:endParaRPr>
          </a:p>
        </p:txBody>
      </p:sp>
      <p:sp>
        <p:nvSpPr>
          <p:cNvPr id="100" name="Rectangle 99">
            <a:extLst>
              <a:ext uri="{FF2B5EF4-FFF2-40B4-BE49-F238E27FC236}">
                <a16:creationId xmlns:a16="http://schemas.microsoft.com/office/drawing/2014/main" id="{8413921A-9F50-D135-DB2F-4735F1AD43FB}"/>
              </a:ext>
            </a:extLst>
          </p:cNvPr>
          <p:cNvSpPr/>
          <p:nvPr/>
        </p:nvSpPr>
        <p:spPr>
          <a:xfrm>
            <a:off x="1100138" y="5013445"/>
            <a:ext cx="1064582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Neejiet pie logiem vai durvīm, neuzturieties verandā, uz balkona vai lodžijas.</a:t>
            </a:r>
            <a:endParaRPr lang="lv-LV" sz="1400" b="0" i="0">
              <a:solidFill>
                <a:srgbClr val="212529"/>
              </a:solidFill>
              <a:effectLst/>
            </a:endParaRPr>
          </a:p>
        </p:txBody>
      </p:sp>
      <p:grpSp>
        <p:nvGrpSpPr>
          <p:cNvPr id="126" name="Group 125">
            <a:extLst>
              <a:ext uri="{FF2B5EF4-FFF2-40B4-BE49-F238E27FC236}">
                <a16:creationId xmlns:a16="http://schemas.microsoft.com/office/drawing/2014/main" id="{25B24E43-5F6C-2205-6F27-C9A8304F80E4}"/>
              </a:ext>
            </a:extLst>
          </p:cNvPr>
          <p:cNvGrpSpPr/>
          <p:nvPr/>
        </p:nvGrpSpPr>
        <p:grpSpPr>
          <a:xfrm>
            <a:off x="440721" y="4394050"/>
            <a:ext cx="576263" cy="540000"/>
            <a:chOff x="5080632" y="4804812"/>
            <a:chExt cx="576263" cy="540000"/>
          </a:xfrm>
        </p:grpSpPr>
        <p:sp>
          <p:nvSpPr>
            <p:cNvPr id="101" name="Rectangle 100">
              <a:extLst>
                <a:ext uri="{FF2B5EF4-FFF2-40B4-BE49-F238E27FC236}">
                  <a16:creationId xmlns:a16="http://schemas.microsoft.com/office/drawing/2014/main" id="{6EEB4BCC-C79A-22FA-6284-FF283E0F0395}"/>
                </a:ext>
              </a:extLst>
            </p:cNvPr>
            <p:cNvSpPr/>
            <p:nvPr/>
          </p:nvSpPr>
          <p:spPr>
            <a:xfrm>
              <a:off x="5080632" y="4804812"/>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2" name="L-Shape 101">
              <a:extLst>
                <a:ext uri="{FF2B5EF4-FFF2-40B4-BE49-F238E27FC236}">
                  <a16:creationId xmlns:a16="http://schemas.microsoft.com/office/drawing/2014/main" id="{A2DB71BE-A99E-9EF8-8B88-2D025550C73F}"/>
                </a:ext>
              </a:extLst>
            </p:cNvPr>
            <p:cNvSpPr/>
            <p:nvPr/>
          </p:nvSpPr>
          <p:spPr>
            <a:xfrm rot="13500000">
              <a:off x="5197026" y="4938424"/>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25" name="Group 124">
            <a:extLst>
              <a:ext uri="{FF2B5EF4-FFF2-40B4-BE49-F238E27FC236}">
                <a16:creationId xmlns:a16="http://schemas.microsoft.com/office/drawing/2014/main" id="{4387D8E0-B165-2634-3E99-8098AC5D0AAE}"/>
              </a:ext>
            </a:extLst>
          </p:cNvPr>
          <p:cNvGrpSpPr/>
          <p:nvPr/>
        </p:nvGrpSpPr>
        <p:grpSpPr>
          <a:xfrm>
            <a:off x="440721" y="5013125"/>
            <a:ext cx="576263" cy="540000"/>
            <a:chOff x="5080632" y="5217298"/>
            <a:chExt cx="576263" cy="540000"/>
          </a:xfrm>
        </p:grpSpPr>
        <p:sp>
          <p:nvSpPr>
            <p:cNvPr id="103" name="Rectangle 102">
              <a:extLst>
                <a:ext uri="{FF2B5EF4-FFF2-40B4-BE49-F238E27FC236}">
                  <a16:creationId xmlns:a16="http://schemas.microsoft.com/office/drawing/2014/main" id="{5DEC1747-94D0-C2FE-BE82-692FD20415CA}"/>
                </a:ext>
              </a:extLst>
            </p:cNvPr>
            <p:cNvSpPr/>
            <p:nvPr/>
          </p:nvSpPr>
          <p:spPr>
            <a:xfrm>
              <a:off x="5080632" y="5217298"/>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4" name="L-Shape 103">
              <a:extLst>
                <a:ext uri="{FF2B5EF4-FFF2-40B4-BE49-F238E27FC236}">
                  <a16:creationId xmlns:a16="http://schemas.microsoft.com/office/drawing/2014/main" id="{D2925E93-E683-0A91-B81F-B1C979776110}"/>
                </a:ext>
              </a:extLst>
            </p:cNvPr>
            <p:cNvSpPr/>
            <p:nvPr/>
          </p:nvSpPr>
          <p:spPr>
            <a:xfrm rot="13500000">
              <a:off x="5197026" y="535091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130" name="Straight Connector 129">
            <a:extLst>
              <a:ext uri="{FF2B5EF4-FFF2-40B4-BE49-F238E27FC236}">
                <a16:creationId xmlns:a16="http://schemas.microsoft.com/office/drawing/2014/main" id="{5517A59E-0478-0F8E-5578-D52E18B438AC}"/>
              </a:ext>
            </a:extLst>
          </p:cNvPr>
          <p:cNvCxnSpPr>
            <a:cxnSpLocks/>
          </p:cNvCxnSpPr>
          <p:nvPr/>
        </p:nvCxnSpPr>
        <p:spPr>
          <a:xfrm>
            <a:off x="1132149" y="4972166"/>
            <a:ext cx="10620000"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8" name="Group 7">
            <a:extLst>
              <a:ext uri="{FF2B5EF4-FFF2-40B4-BE49-F238E27FC236}">
                <a16:creationId xmlns:a16="http://schemas.microsoft.com/office/drawing/2014/main" id="{D8AA64DF-9619-9E30-3EF7-BF0C09287EC0}"/>
              </a:ext>
            </a:extLst>
          </p:cNvPr>
          <p:cNvGrpSpPr/>
          <p:nvPr/>
        </p:nvGrpSpPr>
        <p:grpSpPr>
          <a:xfrm>
            <a:off x="9190780" y="159786"/>
            <a:ext cx="2558308" cy="217488"/>
            <a:chOff x="9190780" y="159786"/>
            <a:chExt cx="2558308" cy="217488"/>
          </a:xfrm>
        </p:grpSpPr>
        <p:sp>
          <p:nvSpPr>
            <p:cNvPr id="9" name="Rectangle 8">
              <a:extLst>
                <a:ext uri="{FF2B5EF4-FFF2-40B4-BE49-F238E27FC236}">
                  <a16:creationId xmlns:a16="http://schemas.microsoft.com/office/drawing/2014/main" id="{06CD487B-A14B-2C5F-77F4-9CEC69BF5CD3}"/>
                </a:ext>
              </a:extLst>
            </p:cNvPr>
            <p:cNvSpPr/>
            <p:nvPr/>
          </p:nvSpPr>
          <p:spPr>
            <a:xfrm>
              <a:off x="9432606" y="159786"/>
              <a:ext cx="1833251"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E93AAB34-6A0E-5497-E7BB-F48C467E8D20}"/>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EED2F0A4-72BA-A541-C124-1139CA39090E}"/>
                </a:ext>
              </a:extLst>
            </p:cNvPr>
            <p:cNvSpPr/>
            <p:nvPr/>
          </p:nvSpPr>
          <p:spPr>
            <a:xfrm>
              <a:off x="919078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45392AD1-DB04-D908-7FA0-2DB9C3B99119}"/>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7912488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47D5D9C8-026E-DCC5-5397-BC77A3E61172}"/>
              </a:ext>
            </a:extLst>
          </p:cNvPr>
          <p:cNvGraphicFramePr>
            <a:graphicFrameLocks noChangeAspect="1"/>
          </p:cNvGraphicFramePr>
          <p:nvPr>
            <p:custDataLst>
              <p:tags r:id="rId1"/>
            </p:custDataLst>
            <p:extLst>
              <p:ext uri="{D42A27DB-BD31-4B8C-83A1-F6EECF244321}">
                <p14:modId xmlns:p14="http://schemas.microsoft.com/office/powerpoint/2010/main" val="165573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54" name="think-cell data - do not delete" hidden="1">
                        <a:extLst>
                          <a:ext uri="{FF2B5EF4-FFF2-40B4-BE49-F238E27FC236}">
                            <a16:creationId xmlns:a16="http://schemas.microsoft.com/office/drawing/2014/main" id="{47D5D9C8-026E-DCC5-5397-BC77A3E611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1E384B44-88CC-8F76-E9AF-DBDBDD24EECE}"/>
              </a:ext>
            </a:extLst>
          </p:cNvPr>
          <p:cNvSpPr/>
          <p:nvPr/>
        </p:nvSpPr>
        <p:spPr>
          <a:xfrm>
            <a:off x="442913" y="1819275"/>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ā rīkoties, ja ir sācies negaiss un Jūs atrodaties ārpus ēkas?</a:t>
            </a:r>
          </a:p>
        </p:txBody>
      </p:sp>
      <p:grpSp>
        <p:nvGrpSpPr>
          <p:cNvPr id="10" name="Group 9">
            <a:extLst>
              <a:ext uri="{FF2B5EF4-FFF2-40B4-BE49-F238E27FC236}">
                <a16:creationId xmlns:a16="http://schemas.microsoft.com/office/drawing/2014/main" id="{BB3D6B6A-9786-18EF-DB52-A410F32A7AA7}"/>
              </a:ext>
            </a:extLst>
          </p:cNvPr>
          <p:cNvGrpSpPr/>
          <p:nvPr/>
        </p:nvGrpSpPr>
        <p:grpSpPr>
          <a:xfrm>
            <a:off x="11102200" y="1819275"/>
            <a:ext cx="646888" cy="576000"/>
            <a:chOff x="4061518" y="1819275"/>
            <a:chExt cx="646888" cy="576000"/>
          </a:xfrm>
        </p:grpSpPr>
        <p:sp>
          <p:nvSpPr>
            <p:cNvPr id="61" name="Rectangle 60">
              <a:extLst>
                <a:ext uri="{FF2B5EF4-FFF2-40B4-BE49-F238E27FC236}">
                  <a16:creationId xmlns:a16="http://schemas.microsoft.com/office/drawing/2014/main" id="{36EC9590-1EE1-4A70-E132-4F25FB2A166A}"/>
                </a:ext>
              </a:extLst>
            </p:cNvPr>
            <p:cNvSpPr/>
            <p:nvPr/>
          </p:nvSpPr>
          <p:spPr>
            <a:xfrm>
              <a:off x="4132406"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13" name="Google Shape;1053;p85">
              <a:extLst>
                <a:ext uri="{FF2B5EF4-FFF2-40B4-BE49-F238E27FC236}">
                  <a16:creationId xmlns:a16="http://schemas.microsoft.com/office/drawing/2014/main" id="{BD0AAD21-B620-BE2C-26F6-12331A646B63}"/>
                </a:ext>
              </a:extLst>
            </p:cNvPr>
            <p:cNvGrpSpPr/>
            <p:nvPr/>
          </p:nvGrpSpPr>
          <p:grpSpPr>
            <a:xfrm>
              <a:off x="4240060" y="1927224"/>
              <a:ext cx="360363" cy="360362"/>
              <a:chOff x="3378787" y="4553878"/>
              <a:chExt cx="463807" cy="463807"/>
            </a:xfrm>
            <a:solidFill>
              <a:schemeClr val="bg1"/>
            </a:solidFill>
          </p:grpSpPr>
          <p:sp>
            <p:nvSpPr>
              <p:cNvPr id="114" name="Google Shape;1054;p85">
                <a:extLst>
                  <a:ext uri="{FF2B5EF4-FFF2-40B4-BE49-F238E27FC236}">
                    <a16:creationId xmlns:a16="http://schemas.microsoft.com/office/drawing/2014/main" id="{FE6F4D41-5A3C-3463-2213-7EE0D8B0B971}"/>
                  </a:ext>
                </a:extLst>
              </p:cNvPr>
              <p:cNvSpPr/>
              <p:nvPr/>
            </p:nvSpPr>
            <p:spPr>
              <a:xfrm>
                <a:off x="3475413" y="4677914"/>
                <a:ext cx="269836" cy="71535"/>
              </a:xfrm>
              <a:custGeom>
                <a:avLst/>
                <a:gdLst/>
                <a:ahLst/>
                <a:cxnLst/>
                <a:rect l="l" t="t" r="r" b="b"/>
                <a:pathLst>
                  <a:path w="269836" h="71535" extrusionOk="0">
                    <a:moveTo>
                      <a:pt x="0" y="71536"/>
                    </a:moveTo>
                    <a:lnTo>
                      <a:pt x="235124" y="71536"/>
                    </a:lnTo>
                    <a:cubicBezTo>
                      <a:pt x="254878" y="70943"/>
                      <a:pt x="270412" y="54448"/>
                      <a:pt x="269820" y="34694"/>
                    </a:cubicBezTo>
                    <a:cubicBezTo>
                      <a:pt x="269250" y="15773"/>
                      <a:pt x="254044" y="568"/>
                      <a:pt x="235124" y="0"/>
                    </a:cubicBezTo>
                    <a:lnTo>
                      <a:pt x="224495" y="0"/>
                    </a:lnTo>
                    <a:lnTo>
                      <a:pt x="224495" y="19808"/>
                    </a:lnTo>
                    <a:lnTo>
                      <a:pt x="235124" y="19808"/>
                    </a:lnTo>
                    <a:cubicBezTo>
                      <a:pt x="243940" y="20999"/>
                      <a:pt x="250118" y="29109"/>
                      <a:pt x="248929" y="37924"/>
                    </a:cubicBezTo>
                    <a:cubicBezTo>
                      <a:pt x="247956" y="45107"/>
                      <a:pt x="242307" y="50757"/>
                      <a:pt x="235124" y="51727"/>
                    </a:cubicBezTo>
                    <a:lnTo>
                      <a:pt x="0" y="51727"/>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5" name="Google Shape;1055;p85">
                <a:extLst>
                  <a:ext uri="{FF2B5EF4-FFF2-40B4-BE49-F238E27FC236}">
                    <a16:creationId xmlns:a16="http://schemas.microsoft.com/office/drawing/2014/main" id="{A7E4DFDC-EB01-300B-41DF-F04DD56BB422}"/>
                  </a:ext>
                </a:extLst>
              </p:cNvPr>
              <p:cNvSpPr/>
              <p:nvPr/>
            </p:nvSpPr>
            <p:spPr>
              <a:xfrm>
                <a:off x="3511390" y="4778663"/>
                <a:ext cx="269836" cy="71535"/>
              </a:xfrm>
              <a:custGeom>
                <a:avLst/>
                <a:gdLst/>
                <a:ahLst/>
                <a:cxnLst/>
                <a:rect l="l" t="t" r="r" b="b"/>
                <a:pathLst>
                  <a:path w="269836" h="71535" extrusionOk="0">
                    <a:moveTo>
                      <a:pt x="224528" y="71536"/>
                    </a:moveTo>
                    <a:lnTo>
                      <a:pt x="235124" y="71536"/>
                    </a:lnTo>
                    <a:cubicBezTo>
                      <a:pt x="254878" y="70943"/>
                      <a:pt x="270412" y="54448"/>
                      <a:pt x="269820" y="34694"/>
                    </a:cubicBezTo>
                    <a:cubicBezTo>
                      <a:pt x="269250" y="15773"/>
                      <a:pt x="254044" y="568"/>
                      <a:pt x="235124" y="0"/>
                    </a:cubicBezTo>
                    <a:lnTo>
                      <a:pt x="0" y="0"/>
                    </a:lnTo>
                    <a:lnTo>
                      <a:pt x="0" y="19680"/>
                    </a:lnTo>
                    <a:lnTo>
                      <a:pt x="235124" y="19680"/>
                    </a:lnTo>
                    <a:cubicBezTo>
                      <a:pt x="243930" y="18425"/>
                      <a:pt x="252086" y="24546"/>
                      <a:pt x="253338" y="33351"/>
                    </a:cubicBezTo>
                    <a:cubicBezTo>
                      <a:pt x="254595" y="42157"/>
                      <a:pt x="248472" y="50312"/>
                      <a:pt x="239669" y="51566"/>
                    </a:cubicBezTo>
                    <a:cubicBezTo>
                      <a:pt x="238162" y="51781"/>
                      <a:pt x="236632" y="51781"/>
                      <a:pt x="235124" y="51566"/>
                    </a:cubicBezTo>
                    <a:lnTo>
                      <a:pt x="224528" y="51566"/>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6" name="Google Shape;1056;p85">
                <a:extLst>
                  <a:ext uri="{FF2B5EF4-FFF2-40B4-BE49-F238E27FC236}">
                    <a16:creationId xmlns:a16="http://schemas.microsoft.com/office/drawing/2014/main" id="{5FCD2CDC-B2CB-1B70-EAC8-E83EB9954417}"/>
                  </a:ext>
                </a:extLst>
              </p:cNvPr>
              <p:cNvSpPr/>
              <p:nvPr/>
            </p:nvSpPr>
            <p:spPr>
              <a:xfrm>
                <a:off x="3474737" y="4827298"/>
                <a:ext cx="238786" cy="71535"/>
              </a:xfrm>
              <a:custGeom>
                <a:avLst/>
                <a:gdLst/>
                <a:ahLst/>
                <a:cxnLst/>
                <a:rect l="l" t="t" r="r" b="b"/>
                <a:pathLst>
                  <a:path w="238786" h="71535" extrusionOk="0">
                    <a:moveTo>
                      <a:pt x="193478" y="71536"/>
                    </a:moveTo>
                    <a:lnTo>
                      <a:pt x="204075" y="71536"/>
                    </a:lnTo>
                    <a:cubicBezTo>
                      <a:pt x="223829" y="70943"/>
                      <a:pt x="239363" y="54449"/>
                      <a:pt x="238770" y="34694"/>
                    </a:cubicBezTo>
                    <a:cubicBezTo>
                      <a:pt x="238200" y="15773"/>
                      <a:pt x="222996" y="568"/>
                      <a:pt x="204075" y="0"/>
                    </a:cubicBezTo>
                    <a:lnTo>
                      <a:pt x="0" y="0"/>
                    </a:lnTo>
                    <a:lnTo>
                      <a:pt x="0" y="19680"/>
                    </a:lnTo>
                    <a:lnTo>
                      <a:pt x="204075" y="19680"/>
                    </a:lnTo>
                    <a:cubicBezTo>
                      <a:pt x="212889" y="20870"/>
                      <a:pt x="219069" y="28981"/>
                      <a:pt x="217879" y="37795"/>
                    </a:cubicBezTo>
                    <a:cubicBezTo>
                      <a:pt x="216908" y="44978"/>
                      <a:pt x="211259" y="50629"/>
                      <a:pt x="204075" y="51599"/>
                    </a:cubicBezTo>
                    <a:lnTo>
                      <a:pt x="193478" y="5159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7" name="Google Shape;1057;p85">
                <a:extLst>
                  <a:ext uri="{FF2B5EF4-FFF2-40B4-BE49-F238E27FC236}">
                    <a16:creationId xmlns:a16="http://schemas.microsoft.com/office/drawing/2014/main" id="{0739207B-8E63-FD23-D037-F26B75869ECA}"/>
                  </a:ext>
                </a:extLst>
              </p:cNvPr>
              <p:cNvSpPr/>
              <p:nvPr/>
            </p:nvSpPr>
            <p:spPr>
              <a:xfrm>
                <a:off x="3458954" y="4628218"/>
                <a:ext cx="174991" cy="72015"/>
              </a:xfrm>
              <a:custGeom>
                <a:avLst/>
                <a:gdLst/>
                <a:ahLst/>
                <a:cxnLst/>
                <a:rect l="l" t="t" r="r" b="b"/>
                <a:pathLst>
                  <a:path w="174991" h="72015" extrusionOk="0">
                    <a:moveTo>
                      <a:pt x="174991" y="36039"/>
                    </a:moveTo>
                    <a:cubicBezTo>
                      <a:pt x="175096" y="16241"/>
                      <a:pt x="159131" y="106"/>
                      <a:pt x="139333" y="1"/>
                    </a:cubicBezTo>
                    <a:cubicBezTo>
                      <a:pt x="120636" y="-99"/>
                      <a:pt x="105003" y="14188"/>
                      <a:pt x="103423" y="32818"/>
                    </a:cubicBezTo>
                    <a:lnTo>
                      <a:pt x="122748" y="32818"/>
                    </a:lnTo>
                    <a:cubicBezTo>
                      <a:pt x="124564" y="23857"/>
                      <a:pt x="133301" y="18065"/>
                      <a:pt x="142262" y="19881"/>
                    </a:cubicBezTo>
                    <a:cubicBezTo>
                      <a:pt x="151223" y="21698"/>
                      <a:pt x="157015" y="30435"/>
                      <a:pt x="155199" y="39396"/>
                    </a:cubicBezTo>
                    <a:cubicBezTo>
                      <a:pt x="153837" y="46113"/>
                      <a:pt x="148478" y="51296"/>
                      <a:pt x="141719" y="52433"/>
                    </a:cubicBezTo>
                    <a:lnTo>
                      <a:pt x="141719" y="52207"/>
                    </a:lnTo>
                    <a:lnTo>
                      <a:pt x="0" y="52207"/>
                    </a:lnTo>
                    <a:lnTo>
                      <a:pt x="0" y="72016"/>
                    </a:lnTo>
                    <a:lnTo>
                      <a:pt x="136211" y="72016"/>
                    </a:lnTo>
                    <a:cubicBezTo>
                      <a:pt x="137177" y="72016"/>
                      <a:pt x="138144" y="72016"/>
                      <a:pt x="139110" y="72016"/>
                    </a:cubicBezTo>
                    <a:cubicBezTo>
                      <a:pt x="140076" y="72016"/>
                      <a:pt x="140785" y="72016"/>
                      <a:pt x="141622" y="72016"/>
                    </a:cubicBezTo>
                    <a:lnTo>
                      <a:pt x="141880" y="72016"/>
                    </a:lnTo>
                    <a:cubicBezTo>
                      <a:pt x="160637" y="70548"/>
                      <a:pt x="175082" y="54853"/>
                      <a:pt x="174991" y="36039"/>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8" name="Google Shape;1058;p85">
                <a:extLst>
                  <a:ext uri="{FF2B5EF4-FFF2-40B4-BE49-F238E27FC236}">
                    <a16:creationId xmlns:a16="http://schemas.microsoft.com/office/drawing/2014/main" id="{B9B4E5BA-63D4-9359-8938-56B25DA57169}"/>
                  </a:ext>
                </a:extLst>
              </p:cNvPr>
              <p:cNvSpPr/>
              <p:nvPr/>
            </p:nvSpPr>
            <p:spPr>
              <a:xfrm>
                <a:off x="3459824" y="4876992"/>
                <a:ext cx="174829" cy="71691"/>
              </a:xfrm>
              <a:custGeom>
                <a:avLst/>
                <a:gdLst/>
                <a:ahLst/>
                <a:cxnLst/>
                <a:rect l="l" t="t" r="r" b="b"/>
                <a:pathLst>
                  <a:path w="174829" h="71691" extrusionOk="0">
                    <a:moveTo>
                      <a:pt x="174829" y="36013"/>
                    </a:moveTo>
                    <a:cubicBezTo>
                      <a:pt x="174736" y="55812"/>
                      <a:pt x="158611" y="71785"/>
                      <a:pt x="138812" y="71691"/>
                    </a:cubicBezTo>
                    <a:cubicBezTo>
                      <a:pt x="120392" y="71604"/>
                      <a:pt x="105036" y="57571"/>
                      <a:pt x="103294" y="39234"/>
                    </a:cubicBezTo>
                    <a:lnTo>
                      <a:pt x="122780" y="39234"/>
                    </a:lnTo>
                    <a:cubicBezTo>
                      <a:pt x="124634" y="48169"/>
                      <a:pt x="133380" y="53909"/>
                      <a:pt x="142315" y="52057"/>
                    </a:cubicBezTo>
                    <a:cubicBezTo>
                      <a:pt x="151250" y="50201"/>
                      <a:pt x="156991" y="41457"/>
                      <a:pt x="155137" y="32522"/>
                    </a:cubicBezTo>
                    <a:cubicBezTo>
                      <a:pt x="153755" y="25858"/>
                      <a:pt x="148429" y="20724"/>
                      <a:pt x="141719" y="19587"/>
                    </a:cubicBezTo>
                    <a:lnTo>
                      <a:pt x="141719" y="19845"/>
                    </a:lnTo>
                    <a:lnTo>
                      <a:pt x="0" y="19845"/>
                    </a:lnTo>
                    <a:lnTo>
                      <a:pt x="0" y="36"/>
                    </a:lnTo>
                    <a:lnTo>
                      <a:pt x="136082" y="36"/>
                    </a:lnTo>
                    <a:cubicBezTo>
                      <a:pt x="137048" y="-12"/>
                      <a:pt x="138015" y="-12"/>
                      <a:pt x="138981" y="36"/>
                    </a:cubicBezTo>
                    <a:cubicBezTo>
                      <a:pt x="139818" y="36"/>
                      <a:pt x="140656" y="36"/>
                      <a:pt x="141493" y="36"/>
                    </a:cubicBezTo>
                    <a:lnTo>
                      <a:pt x="141719" y="36"/>
                    </a:lnTo>
                    <a:cubicBezTo>
                      <a:pt x="160469" y="1518"/>
                      <a:pt x="174905" y="17207"/>
                      <a:pt x="174829" y="36013"/>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9" name="Google Shape;1059;p85">
                <a:extLst>
                  <a:ext uri="{FF2B5EF4-FFF2-40B4-BE49-F238E27FC236}">
                    <a16:creationId xmlns:a16="http://schemas.microsoft.com/office/drawing/2014/main" id="{7AC50860-DA1F-39A1-63D3-8345080B5DF2}"/>
                  </a:ext>
                </a:extLst>
              </p:cNvPr>
              <p:cNvSpPr/>
              <p:nvPr/>
            </p:nvSpPr>
            <p:spPr>
              <a:xfrm>
                <a:off x="3378787" y="4553878"/>
                <a:ext cx="463807" cy="463807"/>
              </a:xfrm>
              <a:custGeom>
                <a:avLst/>
                <a:gdLst/>
                <a:ahLst/>
                <a:cxnLst/>
                <a:rect l="l" t="t" r="r" b="b"/>
                <a:pathLst>
                  <a:path w="463807" h="463807" extrusionOk="0">
                    <a:moveTo>
                      <a:pt x="0" y="0"/>
                    </a:moveTo>
                    <a:lnTo>
                      <a:pt x="0" y="463807"/>
                    </a:lnTo>
                    <a:lnTo>
                      <a:pt x="463807" y="463807"/>
                    </a:lnTo>
                    <a:lnTo>
                      <a:pt x="463807" y="0"/>
                    </a:lnTo>
                    <a:close/>
                    <a:moveTo>
                      <a:pt x="444031" y="442227"/>
                    </a:moveTo>
                    <a:lnTo>
                      <a:pt x="19776" y="442227"/>
                    </a:lnTo>
                    <a:lnTo>
                      <a:pt x="19776" y="18005"/>
                    </a:lnTo>
                    <a:lnTo>
                      <a:pt x="444031" y="18005"/>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62" name="Rectangle 61">
              <a:extLst>
                <a:ext uri="{FF2B5EF4-FFF2-40B4-BE49-F238E27FC236}">
                  <a16:creationId xmlns:a16="http://schemas.microsoft.com/office/drawing/2014/main" id="{2807FCC7-6EAD-0C0D-B605-03EEAC731F8C}"/>
                </a:ext>
              </a:extLst>
            </p:cNvPr>
            <p:cNvSpPr/>
            <p:nvPr/>
          </p:nvSpPr>
          <p:spPr>
            <a:xfrm>
              <a:off x="4061518"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Negaiss</a:t>
            </a:r>
            <a:r>
              <a:rPr lang="en-GB"/>
              <a:t> un </a:t>
            </a:r>
            <a:r>
              <a:rPr lang="en-GB" err="1"/>
              <a:t>stiprs</a:t>
            </a:r>
            <a:r>
              <a:rPr lang="en-GB"/>
              <a:t> </a:t>
            </a:r>
            <a:r>
              <a:rPr lang="en-GB" err="1"/>
              <a:t>vējš</a:t>
            </a:r>
            <a:br>
              <a:rPr lang="lv-LV"/>
            </a:br>
            <a:r>
              <a:rPr lang="lv-LV">
                <a:solidFill>
                  <a:srgbClr val="A8192D"/>
                </a:solidFill>
              </a:rPr>
              <a:t>Kā rīkoties? (2/4)</a:t>
            </a:r>
            <a:endParaRPr lang="en-GB"/>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2</a:t>
            </a:fld>
            <a:endParaRPr lang="en-GB"/>
          </a:p>
        </p:txBody>
      </p:sp>
      <p:cxnSp>
        <p:nvCxnSpPr>
          <p:cNvPr id="29" name="Straight Connector 28">
            <a:extLst>
              <a:ext uri="{FF2B5EF4-FFF2-40B4-BE49-F238E27FC236}">
                <a16:creationId xmlns:a16="http://schemas.microsoft.com/office/drawing/2014/main" id="{4BBC05D7-CB5F-7B1D-9CC7-D35C7404EC4C}"/>
              </a:ext>
            </a:extLst>
          </p:cNvPr>
          <p:cNvCxnSpPr>
            <a:cxnSpLocks/>
          </p:cNvCxnSpPr>
          <p:nvPr/>
        </p:nvCxnSpPr>
        <p:spPr>
          <a:xfrm>
            <a:off x="1100138" y="3002496"/>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0" name="Straight Connector 29">
            <a:extLst>
              <a:ext uri="{FF2B5EF4-FFF2-40B4-BE49-F238E27FC236}">
                <a16:creationId xmlns:a16="http://schemas.microsoft.com/office/drawing/2014/main" id="{A9BDFD01-2873-88E2-665B-A15782C2DE16}"/>
              </a:ext>
            </a:extLst>
          </p:cNvPr>
          <p:cNvCxnSpPr>
            <a:cxnSpLocks/>
          </p:cNvCxnSpPr>
          <p:nvPr/>
        </p:nvCxnSpPr>
        <p:spPr>
          <a:xfrm>
            <a:off x="1100138" y="3541692"/>
            <a:ext cx="6761163"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3613A840-4E6D-FAE5-4D8C-5E63294A7644}"/>
              </a:ext>
            </a:extLst>
          </p:cNvPr>
          <p:cNvCxnSpPr>
            <a:cxnSpLocks/>
          </p:cNvCxnSpPr>
          <p:nvPr/>
        </p:nvCxnSpPr>
        <p:spPr>
          <a:xfrm>
            <a:off x="1100138" y="5700575"/>
            <a:ext cx="6761163"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1" name="Straight Connector 20">
            <a:extLst>
              <a:ext uri="{FF2B5EF4-FFF2-40B4-BE49-F238E27FC236}">
                <a16:creationId xmlns:a16="http://schemas.microsoft.com/office/drawing/2014/main" id="{F3097C31-51F2-D5F8-7426-0A669C9D933B}"/>
              </a:ext>
            </a:extLst>
          </p:cNvPr>
          <p:cNvCxnSpPr>
            <a:cxnSpLocks/>
          </p:cNvCxnSpPr>
          <p:nvPr/>
        </p:nvCxnSpPr>
        <p:spPr>
          <a:xfrm>
            <a:off x="1100138" y="4082226"/>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1" name="Straight Connector 30">
            <a:extLst>
              <a:ext uri="{FF2B5EF4-FFF2-40B4-BE49-F238E27FC236}">
                <a16:creationId xmlns:a16="http://schemas.microsoft.com/office/drawing/2014/main" id="{A23283C8-AC46-8F65-599C-AE50F7F5ECCA}"/>
              </a:ext>
            </a:extLst>
          </p:cNvPr>
          <p:cNvCxnSpPr>
            <a:cxnSpLocks/>
          </p:cNvCxnSpPr>
          <p:nvPr/>
        </p:nvCxnSpPr>
        <p:spPr>
          <a:xfrm>
            <a:off x="1100138" y="5161379"/>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 name="Straight Connector 3">
            <a:extLst>
              <a:ext uri="{FF2B5EF4-FFF2-40B4-BE49-F238E27FC236}">
                <a16:creationId xmlns:a16="http://schemas.microsoft.com/office/drawing/2014/main" id="{A34C0450-1485-CB4E-D4F8-1B9D567AB1FF}"/>
              </a:ext>
            </a:extLst>
          </p:cNvPr>
          <p:cNvCxnSpPr>
            <a:cxnSpLocks/>
          </p:cNvCxnSpPr>
          <p:nvPr/>
        </p:nvCxnSpPr>
        <p:spPr>
          <a:xfrm>
            <a:off x="1100138" y="4622183"/>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4" name="Rectangle 23">
            <a:extLst>
              <a:ext uri="{FF2B5EF4-FFF2-40B4-BE49-F238E27FC236}">
                <a16:creationId xmlns:a16="http://schemas.microsoft.com/office/drawing/2014/main" id="{09C2CCCC-B4A3-9533-7C1A-4E7B99F19AB0}"/>
              </a:ext>
            </a:extLst>
          </p:cNvPr>
          <p:cNvSpPr/>
          <p:nvPr/>
        </p:nvSpPr>
        <p:spPr>
          <a:xfrm>
            <a:off x="1100138" y="2538536"/>
            <a:ext cx="6761162" cy="3731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Patverieties ēkā vai automašīnā.</a:t>
            </a:r>
            <a:r>
              <a:rPr lang="lv-LV" sz="1200" b="1">
                <a:solidFill>
                  <a:srgbClr val="A8192D"/>
                </a:solidFill>
              </a:rPr>
              <a:t> Atcerieties! </a:t>
            </a:r>
            <a:r>
              <a:rPr lang="lv-LV" sz="1200">
                <a:solidFill>
                  <a:schemeClr val="tx1"/>
                </a:solidFill>
              </a:rPr>
              <a:t>Ja esiet automašīnā, atrodiet drošu vietu, kur apstāties. Palieciet tajā, nepieskarieties metāla virsmām un ieslēdziet avārijas gaismas signālu.</a:t>
            </a:r>
            <a:endParaRPr lang="lv-LV" sz="1200" b="0" i="0">
              <a:solidFill>
                <a:schemeClr val="tx1"/>
              </a:solidFill>
              <a:effectLst/>
            </a:endParaRPr>
          </a:p>
        </p:txBody>
      </p:sp>
      <p:sp>
        <p:nvSpPr>
          <p:cNvPr id="35" name="Rectangle 34">
            <a:extLst>
              <a:ext uri="{FF2B5EF4-FFF2-40B4-BE49-F238E27FC236}">
                <a16:creationId xmlns:a16="http://schemas.microsoft.com/office/drawing/2014/main" id="{195A68F4-D954-A1C0-A647-42A436D9BC2B}"/>
              </a:ext>
            </a:extLst>
          </p:cNvPr>
          <p:cNvSpPr/>
          <p:nvPr/>
        </p:nvSpPr>
        <p:spPr>
          <a:xfrm>
            <a:off x="1100138" y="3081357"/>
            <a:ext cx="6761162" cy="3731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Atrodoties mežā, meklējiet patvērumu zemākā zonā, biezoknī ar zemiem kokiem.</a:t>
            </a:r>
            <a:endParaRPr lang="lv-LV" sz="1200" b="0" i="0">
              <a:solidFill>
                <a:schemeClr val="tx1"/>
              </a:solidFill>
              <a:effectLst/>
            </a:endParaRPr>
          </a:p>
        </p:txBody>
      </p:sp>
      <p:sp>
        <p:nvSpPr>
          <p:cNvPr id="36" name="Rectangle 35">
            <a:extLst>
              <a:ext uri="{FF2B5EF4-FFF2-40B4-BE49-F238E27FC236}">
                <a16:creationId xmlns:a16="http://schemas.microsoft.com/office/drawing/2014/main" id="{3C145E88-345E-DEB9-9ABA-4CC30EEE55EB}"/>
              </a:ext>
            </a:extLst>
          </p:cNvPr>
          <p:cNvSpPr/>
          <p:nvPr/>
        </p:nvSpPr>
        <p:spPr>
          <a:xfrm>
            <a:off x="1100138" y="3626277"/>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Atrodoties atklātā teritorijā, patverieties zemā vietā, piemēram, gravā vai ielejā. Izvairieties no atrašanās uz pakalniem, klajā laukā, blakus elektrolīnijām.</a:t>
            </a:r>
            <a:endParaRPr lang="lv-LV" sz="1200" b="0" i="0">
              <a:solidFill>
                <a:schemeClr val="tx1"/>
              </a:solidFill>
              <a:effectLst/>
            </a:endParaRPr>
          </a:p>
        </p:txBody>
      </p:sp>
      <p:sp>
        <p:nvSpPr>
          <p:cNvPr id="14" name="Rectangle 13">
            <a:extLst>
              <a:ext uri="{FF2B5EF4-FFF2-40B4-BE49-F238E27FC236}">
                <a16:creationId xmlns:a16="http://schemas.microsoft.com/office/drawing/2014/main" id="{4B888F26-7D1A-CA27-B5A8-6248A7263371}"/>
              </a:ext>
            </a:extLst>
          </p:cNvPr>
          <p:cNvSpPr/>
          <p:nvPr/>
        </p:nvSpPr>
        <p:spPr>
          <a:xfrm>
            <a:off x="1100138" y="4711655"/>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Izvairieties no patveršanās nojumē, sīku konstrukciju ēkās vai zem lieliem atsevišķi augošiem kokiem atklātā teritorijā.</a:t>
            </a:r>
            <a:endParaRPr lang="lv-LV" sz="1200" b="0" i="0">
              <a:solidFill>
                <a:schemeClr val="tx1"/>
              </a:solidFill>
              <a:effectLst/>
            </a:endParaRPr>
          </a:p>
        </p:txBody>
      </p:sp>
      <p:sp>
        <p:nvSpPr>
          <p:cNvPr id="32" name="Rectangle 31">
            <a:extLst>
              <a:ext uri="{FF2B5EF4-FFF2-40B4-BE49-F238E27FC236}">
                <a16:creationId xmlns:a16="http://schemas.microsoft.com/office/drawing/2014/main" id="{642FDFF0-C1EF-2DFC-03F4-C85494893547}"/>
              </a:ext>
            </a:extLst>
          </p:cNvPr>
          <p:cNvSpPr/>
          <p:nvPr/>
        </p:nvSpPr>
        <p:spPr>
          <a:xfrm>
            <a:off x="1100137" y="5776200"/>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Noņemiet dārglietas, izvairieties no saskaršanās ar metāla priekšmetiem, lauksaimniecības tehniku, velosipēdu un tamlīdzīgām lietām.</a:t>
            </a:r>
          </a:p>
        </p:txBody>
      </p:sp>
      <p:sp>
        <p:nvSpPr>
          <p:cNvPr id="18" name="Rectangle 17">
            <a:extLst>
              <a:ext uri="{FF2B5EF4-FFF2-40B4-BE49-F238E27FC236}">
                <a16:creationId xmlns:a16="http://schemas.microsoft.com/office/drawing/2014/main" id="{257A3C35-39C9-A4E6-1837-31F170B2C97A}"/>
              </a:ext>
            </a:extLst>
          </p:cNvPr>
          <p:cNvSpPr/>
          <p:nvPr/>
        </p:nvSpPr>
        <p:spPr>
          <a:xfrm>
            <a:off x="1100138" y="4168966"/>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Atrodoties uz ūdens, mēģiniet nokļūt krastā un nekavējoties meklēt patvērumu.</a:t>
            </a:r>
            <a:endParaRPr lang="lv-LV" sz="1200" b="0" i="0">
              <a:solidFill>
                <a:schemeClr val="tx1"/>
              </a:solidFill>
              <a:effectLst/>
            </a:endParaRPr>
          </a:p>
        </p:txBody>
      </p:sp>
      <p:sp>
        <p:nvSpPr>
          <p:cNvPr id="22" name="Rectangle 21">
            <a:extLst>
              <a:ext uri="{FF2B5EF4-FFF2-40B4-BE49-F238E27FC236}">
                <a16:creationId xmlns:a16="http://schemas.microsoft.com/office/drawing/2014/main" id="{BDC99A0B-8AB3-4918-5B31-2F9C4926A28C}"/>
              </a:ext>
            </a:extLst>
          </p:cNvPr>
          <p:cNvSpPr/>
          <p:nvPr/>
        </p:nvSpPr>
        <p:spPr>
          <a:xfrm>
            <a:off x="1100138" y="5254344"/>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Neguliet uz betona virsmas vai nepieslienies betona sienām.</a:t>
            </a:r>
            <a:endParaRPr lang="lv-LV" sz="1200" b="0" i="0">
              <a:solidFill>
                <a:schemeClr val="tx1"/>
              </a:solidFill>
              <a:effectLst/>
            </a:endParaRPr>
          </a:p>
        </p:txBody>
      </p:sp>
      <p:sp>
        <p:nvSpPr>
          <p:cNvPr id="23" name="Rectangle 22">
            <a:extLst>
              <a:ext uri="{FF2B5EF4-FFF2-40B4-BE49-F238E27FC236}">
                <a16:creationId xmlns:a16="http://schemas.microsoft.com/office/drawing/2014/main" id="{C79FE495-3705-FC56-C46F-7F38DBD9F9A7}"/>
              </a:ext>
            </a:extLst>
          </p:cNvPr>
          <p:cNvSpPr/>
          <p:nvPr/>
        </p:nvSpPr>
        <p:spPr>
          <a:xfrm>
            <a:off x="442913" y="2538536"/>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3680DECF-EC3E-375C-9E9E-1348C2762FB8}"/>
              </a:ext>
            </a:extLst>
          </p:cNvPr>
          <p:cNvSpPr/>
          <p:nvPr/>
        </p:nvSpPr>
        <p:spPr>
          <a:xfrm rot="13500000">
            <a:off x="559307" y="260014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Rectangle 18">
            <a:extLst>
              <a:ext uri="{FF2B5EF4-FFF2-40B4-BE49-F238E27FC236}">
                <a16:creationId xmlns:a16="http://schemas.microsoft.com/office/drawing/2014/main" id="{07531D68-F37F-8804-2790-05DE03E569AC}"/>
              </a:ext>
            </a:extLst>
          </p:cNvPr>
          <p:cNvSpPr/>
          <p:nvPr/>
        </p:nvSpPr>
        <p:spPr>
          <a:xfrm>
            <a:off x="442913" y="307825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 name="L-Shape 6">
            <a:extLst>
              <a:ext uri="{FF2B5EF4-FFF2-40B4-BE49-F238E27FC236}">
                <a16:creationId xmlns:a16="http://schemas.microsoft.com/office/drawing/2014/main" id="{CC3C3FD8-EBFA-CAFD-4FCC-7724B90AD1E5}"/>
              </a:ext>
            </a:extLst>
          </p:cNvPr>
          <p:cNvSpPr/>
          <p:nvPr/>
        </p:nvSpPr>
        <p:spPr>
          <a:xfrm rot="13500000">
            <a:off x="559307" y="313986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Rectangle 25">
            <a:extLst>
              <a:ext uri="{FF2B5EF4-FFF2-40B4-BE49-F238E27FC236}">
                <a16:creationId xmlns:a16="http://schemas.microsoft.com/office/drawing/2014/main" id="{F0CB5772-83FD-A70A-A885-67FCEEE49754}"/>
              </a:ext>
            </a:extLst>
          </p:cNvPr>
          <p:cNvSpPr/>
          <p:nvPr/>
        </p:nvSpPr>
        <p:spPr>
          <a:xfrm>
            <a:off x="442913" y="361784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 name="L-Shape 8">
            <a:extLst>
              <a:ext uri="{FF2B5EF4-FFF2-40B4-BE49-F238E27FC236}">
                <a16:creationId xmlns:a16="http://schemas.microsoft.com/office/drawing/2014/main" id="{9EBB1D1E-6449-913E-E858-C48CC79A35B7}"/>
              </a:ext>
            </a:extLst>
          </p:cNvPr>
          <p:cNvSpPr/>
          <p:nvPr/>
        </p:nvSpPr>
        <p:spPr>
          <a:xfrm rot="13500000">
            <a:off x="559307" y="367945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1" name="Rectangle 50">
            <a:extLst>
              <a:ext uri="{FF2B5EF4-FFF2-40B4-BE49-F238E27FC236}">
                <a16:creationId xmlns:a16="http://schemas.microsoft.com/office/drawing/2014/main" id="{459753F3-41F3-63B5-45E4-F3B58708C5B6}"/>
              </a:ext>
            </a:extLst>
          </p:cNvPr>
          <p:cNvSpPr/>
          <p:nvPr/>
        </p:nvSpPr>
        <p:spPr>
          <a:xfrm>
            <a:off x="442913" y="469702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 name="L-Shape 10">
            <a:extLst>
              <a:ext uri="{FF2B5EF4-FFF2-40B4-BE49-F238E27FC236}">
                <a16:creationId xmlns:a16="http://schemas.microsoft.com/office/drawing/2014/main" id="{2699A53A-B3BD-81F5-62B1-E1AFB84CBAF9}"/>
              </a:ext>
            </a:extLst>
          </p:cNvPr>
          <p:cNvSpPr/>
          <p:nvPr/>
        </p:nvSpPr>
        <p:spPr>
          <a:xfrm rot="13500000">
            <a:off x="559307" y="47586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9E0E0D22-42F4-802B-FD44-EDC127F0142C}"/>
              </a:ext>
            </a:extLst>
          </p:cNvPr>
          <p:cNvSpPr/>
          <p:nvPr/>
        </p:nvSpPr>
        <p:spPr>
          <a:xfrm>
            <a:off x="442913" y="577620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2" name="L-Shape 11">
            <a:extLst>
              <a:ext uri="{FF2B5EF4-FFF2-40B4-BE49-F238E27FC236}">
                <a16:creationId xmlns:a16="http://schemas.microsoft.com/office/drawing/2014/main" id="{EEEC8714-4554-535F-5536-4371C6F9A1BA}"/>
              </a:ext>
            </a:extLst>
          </p:cNvPr>
          <p:cNvSpPr/>
          <p:nvPr/>
        </p:nvSpPr>
        <p:spPr>
          <a:xfrm rot="13500000">
            <a:off x="559307" y="5837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7" name="Rectangle 46">
            <a:extLst>
              <a:ext uri="{FF2B5EF4-FFF2-40B4-BE49-F238E27FC236}">
                <a16:creationId xmlns:a16="http://schemas.microsoft.com/office/drawing/2014/main" id="{DE28A1F8-05E1-2D2E-5F4B-FFE030D33C0D}"/>
              </a:ext>
            </a:extLst>
          </p:cNvPr>
          <p:cNvSpPr/>
          <p:nvPr/>
        </p:nvSpPr>
        <p:spPr>
          <a:xfrm>
            <a:off x="442913" y="415743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L-Shape 12">
            <a:extLst>
              <a:ext uri="{FF2B5EF4-FFF2-40B4-BE49-F238E27FC236}">
                <a16:creationId xmlns:a16="http://schemas.microsoft.com/office/drawing/2014/main" id="{3F193BB6-564F-7ED4-20BE-73BF54343CE7}"/>
              </a:ext>
            </a:extLst>
          </p:cNvPr>
          <p:cNvSpPr/>
          <p:nvPr/>
        </p:nvSpPr>
        <p:spPr>
          <a:xfrm rot="13500000">
            <a:off x="559307" y="421904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Rectangle 33">
            <a:extLst>
              <a:ext uri="{FF2B5EF4-FFF2-40B4-BE49-F238E27FC236}">
                <a16:creationId xmlns:a16="http://schemas.microsoft.com/office/drawing/2014/main" id="{31E65DFA-47A0-4AD8-6B27-3C86CFB7284A}"/>
              </a:ext>
            </a:extLst>
          </p:cNvPr>
          <p:cNvSpPr/>
          <p:nvPr/>
        </p:nvSpPr>
        <p:spPr>
          <a:xfrm>
            <a:off x="442913" y="523661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6" name="L-Shape 15">
            <a:extLst>
              <a:ext uri="{FF2B5EF4-FFF2-40B4-BE49-F238E27FC236}">
                <a16:creationId xmlns:a16="http://schemas.microsoft.com/office/drawing/2014/main" id="{DE200739-7B25-E26F-EE8E-B08BBC35C608}"/>
              </a:ext>
            </a:extLst>
          </p:cNvPr>
          <p:cNvSpPr/>
          <p:nvPr/>
        </p:nvSpPr>
        <p:spPr>
          <a:xfrm rot="13500000">
            <a:off x="559307" y="529822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20" name="Picture 19">
            <a:extLst>
              <a:ext uri="{FF2B5EF4-FFF2-40B4-BE49-F238E27FC236}">
                <a16:creationId xmlns:a16="http://schemas.microsoft.com/office/drawing/2014/main" id="{C2BA80A2-1330-781D-EFE4-7DB07666AC08}"/>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8218488" y="2535193"/>
            <a:ext cx="3530599" cy="3640959"/>
          </a:xfrm>
          <a:prstGeom prst="rect">
            <a:avLst/>
          </a:prstGeom>
        </p:spPr>
      </p:pic>
      <p:grpSp>
        <p:nvGrpSpPr>
          <p:cNvPr id="3" name="Group 2">
            <a:extLst>
              <a:ext uri="{FF2B5EF4-FFF2-40B4-BE49-F238E27FC236}">
                <a16:creationId xmlns:a16="http://schemas.microsoft.com/office/drawing/2014/main" id="{AC75C078-9268-44F2-82EF-5ACEECC8FA74}"/>
              </a:ext>
            </a:extLst>
          </p:cNvPr>
          <p:cNvGrpSpPr/>
          <p:nvPr/>
        </p:nvGrpSpPr>
        <p:grpSpPr>
          <a:xfrm>
            <a:off x="9190780" y="159786"/>
            <a:ext cx="2558308" cy="217488"/>
            <a:chOff x="9190780" y="159786"/>
            <a:chExt cx="2558308" cy="217488"/>
          </a:xfrm>
        </p:grpSpPr>
        <p:sp>
          <p:nvSpPr>
            <p:cNvPr id="25" name="Rectangle 24">
              <a:extLst>
                <a:ext uri="{FF2B5EF4-FFF2-40B4-BE49-F238E27FC236}">
                  <a16:creationId xmlns:a16="http://schemas.microsoft.com/office/drawing/2014/main" id="{ACE6FACA-4E0A-674F-BDEA-BE58086551E9}"/>
                </a:ext>
              </a:extLst>
            </p:cNvPr>
            <p:cNvSpPr/>
            <p:nvPr/>
          </p:nvSpPr>
          <p:spPr>
            <a:xfrm>
              <a:off x="9432606" y="159786"/>
              <a:ext cx="1833251"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A8B3288E-9DA0-10B6-3EB7-201AAF656E23}"/>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3F6DE85C-F267-42D3-E309-A63D8B957E9F}"/>
                </a:ext>
              </a:extLst>
            </p:cNvPr>
            <p:cNvSpPr/>
            <p:nvPr/>
          </p:nvSpPr>
          <p:spPr>
            <a:xfrm>
              <a:off x="919078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3CF5F35D-983E-043B-F792-DB69E1FA8DE4}"/>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544519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0CCB6DD0-0A2D-D7E9-76EC-1E664B1AF0D4}"/>
              </a:ext>
            </a:extLst>
          </p:cNvPr>
          <p:cNvGraphicFramePr>
            <a:graphicFrameLocks noChangeAspect="1"/>
          </p:cNvGraphicFramePr>
          <p:nvPr>
            <p:custDataLst>
              <p:tags r:id="rId1"/>
            </p:custDataLst>
            <p:extLst>
              <p:ext uri="{D42A27DB-BD31-4B8C-83A1-F6EECF244321}">
                <p14:modId xmlns:p14="http://schemas.microsoft.com/office/powerpoint/2010/main" val="2333077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31" name="think-cell data - do not delete" hidden="1">
                        <a:extLst>
                          <a:ext uri="{FF2B5EF4-FFF2-40B4-BE49-F238E27FC236}">
                            <a16:creationId xmlns:a16="http://schemas.microsoft.com/office/drawing/2014/main" id="{0CCB6DD0-0A2D-D7E9-76EC-1E664B1AF0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DC58C25F-8110-0C29-4A50-5DADA78B621C}"/>
              </a:ext>
            </a:extLst>
          </p:cNvPr>
          <p:cNvSpPr/>
          <p:nvPr/>
        </p:nvSpPr>
        <p:spPr>
          <a:xfrm>
            <a:off x="442914" y="1819275"/>
            <a:ext cx="1130356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ā sagatavoties negaisam un spēcīgām vēja brāzmām, saņemot brīdinājumu:</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Negaiss</a:t>
            </a:r>
            <a:r>
              <a:rPr lang="en-GB"/>
              <a:t> un </a:t>
            </a:r>
            <a:r>
              <a:rPr lang="en-GB" err="1"/>
              <a:t>stiprs</a:t>
            </a:r>
            <a:r>
              <a:rPr lang="en-GB"/>
              <a:t> </a:t>
            </a:r>
            <a:r>
              <a:rPr lang="en-GB" err="1"/>
              <a:t>vējš</a:t>
            </a:r>
            <a:br>
              <a:rPr lang="lv-LV"/>
            </a:br>
            <a:r>
              <a:rPr lang="lv-LV">
                <a:solidFill>
                  <a:srgbClr val="A8192D"/>
                </a:solidFill>
              </a:rPr>
              <a:t>Kā rīkoties? (3/4)</a:t>
            </a:r>
            <a:endParaRPr lang="en-GB"/>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3</a:t>
            </a:fld>
            <a:endParaRPr lang="en-GB"/>
          </a:p>
        </p:txBody>
      </p:sp>
      <p:sp>
        <p:nvSpPr>
          <p:cNvPr id="75" name="Rectangle 74">
            <a:extLst>
              <a:ext uri="{FF2B5EF4-FFF2-40B4-BE49-F238E27FC236}">
                <a16:creationId xmlns:a16="http://schemas.microsoft.com/office/drawing/2014/main" id="{AB24C0B9-0E0F-E3B2-1237-5CBEE719A1F1}"/>
              </a:ext>
            </a:extLst>
          </p:cNvPr>
          <p:cNvSpPr/>
          <p:nvPr/>
        </p:nvSpPr>
        <p:spPr>
          <a:xfrm>
            <a:off x="1095747" y="2538413"/>
            <a:ext cx="10650727"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B</a:t>
            </a:r>
            <a:r>
              <a:rPr lang="lv-LV" sz="1200" b="0" i="0">
                <a:solidFill>
                  <a:srgbClr val="212529"/>
                </a:solidFill>
                <a:effectLst/>
              </a:rPr>
              <a:t>ez īpašas vajadzības nedodieties ārā no ēkas.</a:t>
            </a:r>
          </a:p>
        </p:txBody>
      </p:sp>
      <p:grpSp>
        <p:nvGrpSpPr>
          <p:cNvPr id="53" name="Group 52">
            <a:extLst>
              <a:ext uri="{FF2B5EF4-FFF2-40B4-BE49-F238E27FC236}">
                <a16:creationId xmlns:a16="http://schemas.microsoft.com/office/drawing/2014/main" id="{53D841C3-FCA8-0E4C-CFCD-DE20CC7BAC2E}"/>
              </a:ext>
            </a:extLst>
          </p:cNvPr>
          <p:cNvGrpSpPr/>
          <p:nvPr/>
        </p:nvGrpSpPr>
        <p:grpSpPr>
          <a:xfrm>
            <a:off x="442913" y="2538413"/>
            <a:ext cx="576263" cy="540000"/>
            <a:chOff x="442913" y="2538413"/>
            <a:chExt cx="576263" cy="540000"/>
          </a:xfrm>
        </p:grpSpPr>
        <p:sp>
          <p:nvSpPr>
            <p:cNvPr id="5" name="Rectangle 4">
              <a:extLst>
                <a:ext uri="{FF2B5EF4-FFF2-40B4-BE49-F238E27FC236}">
                  <a16:creationId xmlns:a16="http://schemas.microsoft.com/office/drawing/2014/main" id="{9B01BFF2-7C6C-4A11-DDDF-DFEB1E669057}"/>
                </a:ext>
              </a:extLst>
            </p:cNvPr>
            <p:cNvSpPr/>
            <p:nvPr/>
          </p:nvSpPr>
          <p:spPr>
            <a:xfrm>
              <a:off x="442913" y="2538413"/>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5C78887E-1D81-C336-D2B1-A3180DF6D42B}"/>
                </a:ext>
              </a:extLst>
            </p:cNvPr>
            <p:cNvSpPr/>
            <p:nvPr/>
          </p:nvSpPr>
          <p:spPr>
            <a:xfrm rot="13500000">
              <a:off x="559307" y="26720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76" name="Rectangle 75">
            <a:extLst>
              <a:ext uri="{FF2B5EF4-FFF2-40B4-BE49-F238E27FC236}">
                <a16:creationId xmlns:a16="http://schemas.microsoft.com/office/drawing/2014/main" id="{8793B610-11BB-3DD5-343E-D5A1842E54DF}"/>
              </a:ext>
            </a:extLst>
          </p:cNvPr>
          <p:cNvSpPr/>
          <p:nvPr/>
        </p:nvSpPr>
        <p:spPr>
          <a:xfrm>
            <a:off x="1095748" y="3157013"/>
            <a:ext cx="106507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Esiet gatavs elektroenerģijas padeves pārtraukumiem. </a:t>
            </a:r>
            <a:r>
              <a:rPr lang="lv-LV" sz="1200" b="1">
                <a:solidFill>
                  <a:srgbClr val="A8192D"/>
                </a:solidFill>
              </a:rPr>
              <a:t>Atceries!</a:t>
            </a:r>
            <a:r>
              <a:rPr lang="lv-LV" sz="1200">
                <a:solidFill>
                  <a:srgbClr val="A8192D"/>
                </a:solidFill>
              </a:rPr>
              <a:t> </a:t>
            </a:r>
            <a:r>
              <a:rPr lang="lv-LV" sz="1200">
                <a:solidFill>
                  <a:srgbClr val="212529"/>
                </a:solidFill>
              </a:rPr>
              <a:t>Savlaicīgi uzlādē mobilo telefonu.</a:t>
            </a:r>
            <a:endParaRPr lang="lv-LV" sz="1200" b="0" i="0">
              <a:solidFill>
                <a:srgbClr val="212529"/>
              </a:solidFill>
              <a:effectLst/>
            </a:endParaRPr>
          </a:p>
        </p:txBody>
      </p:sp>
      <p:grpSp>
        <p:nvGrpSpPr>
          <p:cNvPr id="52" name="Group 51">
            <a:extLst>
              <a:ext uri="{FF2B5EF4-FFF2-40B4-BE49-F238E27FC236}">
                <a16:creationId xmlns:a16="http://schemas.microsoft.com/office/drawing/2014/main" id="{65797E59-9420-4DCA-2BF0-7142E471B84C}"/>
              </a:ext>
            </a:extLst>
          </p:cNvPr>
          <p:cNvGrpSpPr/>
          <p:nvPr/>
        </p:nvGrpSpPr>
        <p:grpSpPr>
          <a:xfrm>
            <a:off x="442913" y="3157183"/>
            <a:ext cx="576263" cy="540000"/>
            <a:chOff x="442913" y="3203969"/>
            <a:chExt cx="576263" cy="540000"/>
          </a:xfrm>
        </p:grpSpPr>
        <p:sp>
          <p:nvSpPr>
            <p:cNvPr id="7" name="Rectangle 6">
              <a:extLst>
                <a:ext uri="{FF2B5EF4-FFF2-40B4-BE49-F238E27FC236}">
                  <a16:creationId xmlns:a16="http://schemas.microsoft.com/office/drawing/2014/main" id="{86FE1521-C46F-D8C5-EA1F-0B77C311CF77}"/>
                </a:ext>
              </a:extLst>
            </p:cNvPr>
            <p:cNvSpPr/>
            <p:nvPr/>
          </p:nvSpPr>
          <p:spPr>
            <a:xfrm>
              <a:off x="442913" y="3203969"/>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 name="L-Shape 8">
              <a:extLst>
                <a:ext uri="{FF2B5EF4-FFF2-40B4-BE49-F238E27FC236}">
                  <a16:creationId xmlns:a16="http://schemas.microsoft.com/office/drawing/2014/main" id="{2C33BD90-1F28-012B-9552-5BD45C0528F9}"/>
                </a:ext>
              </a:extLst>
            </p:cNvPr>
            <p:cNvSpPr/>
            <p:nvPr/>
          </p:nvSpPr>
          <p:spPr>
            <a:xfrm rot="13500000">
              <a:off x="559307" y="33375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13" name="Straight Connector 12">
            <a:extLst>
              <a:ext uri="{FF2B5EF4-FFF2-40B4-BE49-F238E27FC236}">
                <a16:creationId xmlns:a16="http://schemas.microsoft.com/office/drawing/2014/main" id="{57E638E7-D0A4-5E2D-AACB-B8C40DD06519}"/>
              </a:ext>
            </a:extLst>
          </p:cNvPr>
          <p:cNvCxnSpPr>
            <a:cxnSpLocks/>
          </p:cNvCxnSpPr>
          <p:nvPr/>
        </p:nvCxnSpPr>
        <p:spPr>
          <a:xfrm>
            <a:off x="1095374" y="3115786"/>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D5F3E7D7-11B3-9912-9E28-D800635741FC}"/>
              </a:ext>
            </a:extLst>
          </p:cNvPr>
          <p:cNvCxnSpPr>
            <a:cxnSpLocks/>
          </p:cNvCxnSpPr>
          <p:nvPr/>
        </p:nvCxnSpPr>
        <p:spPr>
          <a:xfrm>
            <a:off x="1095374" y="3734136"/>
            <a:ext cx="1065053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0B98F0A9-A0F5-94E3-A94F-1CD87810FB99}"/>
              </a:ext>
            </a:extLst>
          </p:cNvPr>
          <p:cNvCxnSpPr>
            <a:cxnSpLocks/>
          </p:cNvCxnSpPr>
          <p:nvPr/>
        </p:nvCxnSpPr>
        <p:spPr>
          <a:xfrm>
            <a:off x="1095374" y="5591285"/>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7" name="Straight Connector 26">
            <a:extLst>
              <a:ext uri="{FF2B5EF4-FFF2-40B4-BE49-F238E27FC236}">
                <a16:creationId xmlns:a16="http://schemas.microsoft.com/office/drawing/2014/main" id="{5FE1F1BA-74EB-89F7-7A1C-E75D518CD996}"/>
              </a:ext>
            </a:extLst>
          </p:cNvPr>
          <p:cNvCxnSpPr>
            <a:cxnSpLocks/>
          </p:cNvCxnSpPr>
          <p:nvPr/>
        </p:nvCxnSpPr>
        <p:spPr>
          <a:xfrm>
            <a:off x="1095374" y="4972935"/>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8" name="Straight Connector 27">
            <a:extLst>
              <a:ext uri="{FF2B5EF4-FFF2-40B4-BE49-F238E27FC236}">
                <a16:creationId xmlns:a16="http://schemas.microsoft.com/office/drawing/2014/main" id="{CA568E8B-8B6F-B25E-3CB3-5A3C3D31C90A}"/>
              </a:ext>
            </a:extLst>
          </p:cNvPr>
          <p:cNvCxnSpPr>
            <a:cxnSpLocks/>
          </p:cNvCxnSpPr>
          <p:nvPr/>
        </p:nvCxnSpPr>
        <p:spPr>
          <a:xfrm>
            <a:off x="1095374" y="4354585"/>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2" name="Rectangle 11">
            <a:extLst>
              <a:ext uri="{FF2B5EF4-FFF2-40B4-BE49-F238E27FC236}">
                <a16:creationId xmlns:a16="http://schemas.microsoft.com/office/drawing/2014/main" id="{6C159E5C-6825-65ED-B20E-2427062C845D}"/>
              </a:ext>
            </a:extLst>
          </p:cNvPr>
          <p:cNvSpPr/>
          <p:nvPr/>
        </p:nvSpPr>
        <p:spPr>
          <a:xfrm>
            <a:off x="1095748" y="5632514"/>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N</a:t>
            </a:r>
            <a:r>
              <a:rPr lang="lv-LV" sz="1200" b="0" i="0">
                <a:solidFill>
                  <a:schemeClr val="tx1"/>
                </a:solidFill>
                <a:effectLst/>
              </a:rPr>
              <a:t>enovietojiet automašīnu zem kokiem, celtniecības sastatnēm, reklāmas stendiem, elektropārvades līnijām.</a:t>
            </a:r>
          </a:p>
        </p:txBody>
      </p:sp>
      <p:grpSp>
        <p:nvGrpSpPr>
          <p:cNvPr id="42" name="Group 41">
            <a:extLst>
              <a:ext uri="{FF2B5EF4-FFF2-40B4-BE49-F238E27FC236}">
                <a16:creationId xmlns:a16="http://schemas.microsoft.com/office/drawing/2014/main" id="{A4F4AFF7-D322-3750-1DFA-D9C100938F39}"/>
              </a:ext>
            </a:extLst>
          </p:cNvPr>
          <p:cNvGrpSpPr/>
          <p:nvPr/>
        </p:nvGrpSpPr>
        <p:grpSpPr>
          <a:xfrm>
            <a:off x="442913" y="5632264"/>
            <a:ext cx="576263" cy="540000"/>
            <a:chOff x="442913" y="5632264"/>
            <a:chExt cx="576263" cy="540000"/>
          </a:xfrm>
        </p:grpSpPr>
        <p:sp>
          <p:nvSpPr>
            <p:cNvPr id="39" name="Rectangle 38">
              <a:extLst>
                <a:ext uri="{FF2B5EF4-FFF2-40B4-BE49-F238E27FC236}">
                  <a16:creationId xmlns:a16="http://schemas.microsoft.com/office/drawing/2014/main" id="{1827754A-E5C9-3C2B-2904-C6CA6ABA4D9D}"/>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1" name="L-Shape 40">
              <a:extLst>
                <a:ext uri="{FF2B5EF4-FFF2-40B4-BE49-F238E27FC236}">
                  <a16:creationId xmlns:a16="http://schemas.microsoft.com/office/drawing/2014/main" id="{23DF718D-7257-2123-82CE-6D108C84E70D}"/>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77" name="Rectangle 76">
            <a:extLst>
              <a:ext uri="{FF2B5EF4-FFF2-40B4-BE49-F238E27FC236}">
                <a16:creationId xmlns:a16="http://schemas.microsoft.com/office/drawing/2014/main" id="{7507519A-1DE4-B47D-BFBC-5EC74A788B23}"/>
              </a:ext>
            </a:extLst>
          </p:cNvPr>
          <p:cNvSpPr/>
          <p:nvPr/>
        </p:nvSpPr>
        <p:spPr>
          <a:xfrm>
            <a:off x="1095748" y="501416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Savlaicīgi atvienojiet elektroiekārtas. Zibens izraisīts strāvas vai sprieguma kāpums var izraisīt nopietnus bojājumus.</a:t>
            </a:r>
            <a:endParaRPr lang="lv-LV" sz="1200" b="0" i="0">
              <a:solidFill>
                <a:srgbClr val="212529"/>
              </a:solidFill>
              <a:effectLst/>
            </a:endParaRPr>
          </a:p>
        </p:txBody>
      </p:sp>
      <p:grpSp>
        <p:nvGrpSpPr>
          <p:cNvPr id="43" name="Group 42">
            <a:extLst>
              <a:ext uri="{FF2B5EF4-FFF2-40B4-BE49-F238E27FC236}">
                <a16:creationId xmlns:a16="http://schemas.microsoft.com/office/drawing/2014/main" id="{C1882662-BF50-0FC2-9D53-D9AD4D05B1BE}"/>
              </a:ext>
            </a:extLst>
          </p:cNvPr>
          <p:cNvGrpSpPr/>
          <p:nvPr/>
        </p:nvGrpSpPr>
        <p:grpSpPr>
          <a:xfrm>
            <a:off x="442913" y="5013493"/>
            <a:ext cx="576263" cy="540000"/>
            <a:chOff x="442913" y="5632264"/>
            <a:chExt cx="576263" cy="540000"/>
          </a:xfrm>
        </p:grpSpPr>
        <p:sp>
          <p:nvSpPr>
            <p:cNvPr id="44" name="Rectangle 43">
              <a:extLst>
                <a:ext uri="{FF2B5EF4-FFF2-40B4-BE49-F238E27FC236}">
                  <a16:creationId xmlns:a16="http://schemas.microsoft.com/office/drawing/2014/main" id="{B5C01C9D-FCFE-7C06-355F-B51DC9CE2BD7}"/>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5" name="L-Shape 44">
              <a:extLst>
                <a:ext uri="{FF2B5EF4-FFF2-40B4-BE49-F238E27FC236}">
                  <a16:creationId xmlns:a16="http://schemas.microsoft.com/office/drawing/2014/main" id="{95F83EE7-077E-1143-291F-23EE821A1687}"/>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99" name="Rectangle 98">
            <a:extLst>
              <a:ext uri="{FF2B5EF4-FFF2-40B4-BE49-F238E27FC236}">
                <a16:creationId xmlns:a16="http://schemas.microsoft.com/office/drawing/2014/main" id="{805B5EBD-6AAC-3E2E-7379-47BAFD8ABB47}"/>
              </a:ext>
            </a:extLst>
          </p:cNvPr>
          <p:cNvSpPr/>
          <p:nvPr/>
        </p:nvSpPr>
        <p:spPr>
          <a:xfrm>
            <a:off x="1095748" y="439581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Aizveriet durvis un logus, žalūzijas un aizkarus.</a:t>
            </a:r>
            <a:endParaRPr lang="lv-LV" sz="1200" b="0" i="0">
              <a:solidFill>
                <a:schemeClr val="tx1"/>
              </a:solidFill>
              <a:effectLst/>
            </a:endParaRPr>
          </a:p>
        </p:txBody>
      </p:sp>
      <p:grpSp>
        <p:nvGrpSpPr>
          <p:cNvPr id="46" name="Group 45">
            <a:extLst>
              <a:ext uri="{FF2B5EF4-FFF2-40B4-BE49-F238E27FC236}">
                <a16:creationId xmlns:a16="http://schemas.microsoft.com/office/drawing/2014/main" id="{9D0D27D0-1D3C-D063-303A-78578DD5B482}"/>
              </a:ext>
            </a:extLst>
          </p:cNvPr>
          <p:cNvGrpSpPr/>
          <p:nvPr/>
        </p:nvGrpSpPr>
        <p:grpSpPr>
          <a:xfrm>
            <a:off x="442913" y="4394723"/>
            <a:ext cx="576263" cy="540000"/>
            <a:chOff x="442913" y="5632264"/>
            <a:chExt cx="576263" cy="540000"/>
          </a:xfrm>
        </p:grpSpPr>
        <p:sp>
          <p:nvSpPr>
            <p:cNvPr id="48" name="Rectangle 47">
              <a:extLst>
                <a:ext uri="{FF2B5EF4-FFF2-40B4-BE49-F238E27FC236}">
                  <a16:creationId xmlns:a16="http://schemas.microsoft.com/office/drawing/2014/main" id="{718C1DA6-897D-1E84-C3B9-46D621F0912C}"/>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L-Shape 48">
              <a:extLst>
                <a:ext uri="{FF2B5EF4-FFF2-40B4-BE49-F238E27FC236}">
                  <a16:creationId xmlns:a16="http://schemas.microsoft.com/office/drawing/2014/main" id="{EB8CA6BE-7B8C-6996-F7C4-29CB41CDD342}"/>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33" name="Rectangle 32">
            <a:extLst>
              <a:ext uri="{FF2B5EF4-FFF2-40B4-BE49-F238E27FC236}">
                <a16:creationId xmlns:a16="http://schemas.microsoft.com/office/drawing/2014/main" id="{A9EA678B-1C92-D1EC-5EF2-97D0A4907E68}"/>
              </a:ext>
            </a:extLst>
          </p:cNvPr>
          <p:cNvSpPr/>
          <p:nvPr/>
        </p:nvSpPr>
        <p:spPr>
          <a:xfrm>
            <a:off x="1095748" y="377746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N</a:t>
            </a:r>
            <a:r>
              <a:rPr lang="lv-LV" sz="1200" b="0" i="0">
                <a:solidFill>
                  <a:srgbClr val="212529"/>
                </a:solidFill>
                <a:effectLst/>
              </a:rPr>
              <a:t>ostipriniet uz balkona vai mājas pagalmā esošos objektus, kas var tikt aizpūsti un izraisīt bojājumus.</a:t>
            </a:r>
          </a:p>
        </p:txBody>
      </p:sp>
      <p:grpSp>
        <p:nvGrpSpPr>
          <p:cNvPr id="54" name="Group 53">
            <a:extLst>
              <a:ext uri="{FF2B5EF4-FFF2-40B4-BE49-F238E27FC236}">
                <a16:creationId xmlns:a16="http://schemas.microsoft.com/office/drawing/2014/main" id="{AEB34293-42F7-9DB0-592C-B0D02ABB0F4B}"/>
              </a:ext>
            </a:extLst>
          </p:cNvPr>
          <p:cNvGrpSpPr/>
          <p:nvPr/>
        </p:nvGrpSpPr>
        <p:grpSpPr>
          <a:xfrm>
            <a:off x="442491" y="3775953"/>
            <a:ext cx="576263" cy="540000"/>
            <a:chOff x="442913" y="2538413"/>
            <a:chExt cx="576263" cy="540000"/>
          </a:xfrm>
        </p:grpSpPr>
        <p:sp>
          <p:nvSpPr>
            <p:cNvPr id="55" name="Rectangle 54">
              <a:extLst>
                <a:ext uri="{FF2B5EF4-FFF2-40B4-BE49-F238E27FC236}">
                  <a16:creationId xmlns:a16="http://schemas.microsoft.com/office/drawing/2014/main" id="{BBE22A93-5587-DA7B-29CF-65407AE35D02}"/>
                </a:ext>
              </a:extLst>
            </p:cNvPr>
            <p:cNvSpPr/>
            <p:nvPr/>
          </p:nvSpPr>
          <p:spPr>
            <a:xfrm>
              <a:off x="442913" y="2538413"/>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591B758D-F953-BC53-26C5-F859207AF361}"/>
                </a:ext>
              </a:extLst>
            </p:cNvPr>
            <p:cNvSpPr/>
            <p:nvPr/>
          </p:nvSpPr>
          <p:spPr>
            <a:xfrm rot="13500000">
              <a:off x="559307" y="26720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4" name="Group 13">
            <a:extLst>
              <a:ext uri="{FF2B5EF4-FFF2-40B4-BE49-F238E27FC236}">
                <a16:creationId xmlns:a16="http://schemas.microsoft.com/office/drawing/2014/main" id="{7110C0CD-69A0-6CDA-BF51-EDD68F80364F}"/>
              </a:ext>
            </a:extLst>
          </p:cNvPr>
          <p:cNvGrpSpPr/>
          <p:nvPr/>
        </p:nvGrpSpPr>
        <p:grpSpPr>
          <a:xfrm>
            <a:off x="9190780" y="159786"/>
            <a:ext cx="2558308" cy="217488"/>
            <a:chOff x="9190780" y="159786"/>
            <a:chExt cx="2558308" cy="217488"/>
          </a:xfrm>
        </p:grpSpPr>
        <p:sp>
          <p:nvSpPr>
            <p:cNvPr id="15" name="Rectangle 14">
              <a:extLst>
                <a:ext uri="{FF2B5EF4-FFF2-40B4-BE49-F238E27FC236}">
                  <a16:creationId xmlns:a16="http://schemas.microsoft.com/office/drawing/2014/main" id="{8E43C136-34D1-231E-1094-DEC426F627FC}"/>
                </a:ext>
              </a:extLst>
            </p:cNvPr>
            <p:cNvSpPr/>
            <p:nvPr/>
          </p:nvSpPr>
          <p:spPr>
            <a:xfrm>
              <a:off x="9432606" y="159786"/>
              <a:ext cx="1833251"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1CC89906-C32A-F024-4144-6596C37737CE}"/>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34BA0DDA-1DD1-C6E9-6CDB-37C64A304DCF}"/>
                </a:ext>
              </a:extLst>
            </p:cNvPr>
            <p:cNvSpPr/>
            <p:nvPr/>
          </p:nvSpPr>
          <p:spPr>
            <a:xfrm>
              <a:off x="919078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90568F98-E9EC-25ED-0C97-2BCF037F02DC}"/>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4015954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E9055983-5BDC-2790-0810-8F819DF26CD9}"/>
              </a:ext>
            </a:extLst>
          </p:cNvPr>
          <p:cNvGraphicFramePr>
            <a:graphicFrameLocks noChangeAspect="1"/>
          </p:cNvGraphicFramePr>
          <p:nvPr>
            <p:custDataLst>
              <p:tags r:id="rId1"/>
            </p:custDataLst>
            <p:extLst>
              <p:ext uri="{D42A27DB-BD31-4B8C-83A1-F6EECF244321}">
                <p14:modId xmlns:p14="http://schemas.microsoft.com/office/powerpoint/2010/main" val="3891412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29" name="think-cell data - do not delete" hidden="1">
                        <a:extLst>
                          <a:ext uri="{FF2B5EF4-FFF2-40B4-BE49-F238E27FC236}">
                            <a16:creationId xmlns:a16="http://schemas.microsoft.com/office/drawing/2014/main" id="{E9055983-5BDC-2790-0810-8F819DF26C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1E384B44-88CC-8F76-E9AF-DBDBDD24EECE}"/>
              </a:ext>
            </a:extLst>
          </p:cNvPr>
          <p:cNvSpPr/>
          <p:nvPr/>
        </p:nvSpPr>
        <p:spPr>
          <a:xfrm>
            <a:off x="442913" y="2903046"/>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fi-FI" sz="1600" b="1"/>
              <a:t>Kā rīkoties, ja pazūd elektrība:</a:t>
            </a:r>
          </a:p>
        </p:txBody>
      </p:sp>
      <p:sp>
        <p:nvSpPr>
          <p:cNvPr id="61" name="Rectangle 60">
            <a:extLst>
              <a:ext uri="{FF2B5EF4-FFF2-40B4-BE49-F238E27FC236}">
                <a16:creationId xmlns:a16="http://schemas.microsoft.com/office/drawing/2014/main" id="{36EC9590-1EE1-4A70-E132-4F25FB2A166A}"/>
              </a:ext>
            </a:extLst>
          </p:cNvPr>
          <p:cNvSpPr/>
          <p:nvPr/>
        </p:nvSpPr>
        <p:spPr>
          <a:xfrm>
            <a:off x="11173088" y="2903046"/>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Google Shape;944;p84">
            <a:extLst>
              <a:ext uri="{FF2B5EF4-FFF2-40B4-BE49-F238E27FC236}">
                <a16:creationId xmlns:a16="http://schemas.microsoft.com/office/drawing/2014/main" id="{2F42412E-1B19-F38E-130A-649F3A1FED51}"/>
              </a:ext>
            </a:extLst>
          </p:cNvPr>
          <p:cNvSpPr/>
          <p:nvPr/>
        </p:nvSpPr>
        <p:spPr>
          <a:xfrm>
            <a:off x="11280742" y="3011006"/>
            <a:ext cx="360363" cy="360363"/>
          </a:xfrm>
          <a:custGeom>
            <a:avLst/>
            <a:gdLst/>
            <a:ahLst/>
            <a:cxnLst/>
            <a:rect l="l" t="t" r="r" b="b"/>
            <a:pathLst>
              <a:path w="704" h="706" extrusionOk="0">
                <a:moveTo>
                  <a:pt x="510" y="0"/>
                </a:moveTo>
                <a:lnTo>
                  <a:pt x="510" y="0"/>
                </a:lnTo>
                <a:lnTo>
                  <a:pt x="452" y="0"/>
                </a:lnTo>
                <a:lnTo>
                  <a:pt x="367" y="245"/>
                </a:lnTo>
                <a:lnTo>
                  <a:pt x="495" y="245"/>
                </a:lnTo>
                <a:lnTo>
                  <a:pt x="298" y="490"/>
                </a:lnTo>
                <a:lnTo>
                  <a:pt x="359" y="311"/>
                </a:lnTo>
                <a:lnTo>
                  <a:pt x="254" y="310"/>
                </a:lnTo>
                <a:lnTo>
                  <a:pt x="356" y="15"/>
                </a:lnTo>
                <a:lnTo>
                  <a:pt x="361" y="0"/>
                </a:lnTo>
                <a:lnTo>
                  <a:pt x="329" y="0"/>
                </a:lnTo>
                <a:lnTo>
                  <a:pt x="291" y="0"/>
                </a:lnTo>
                <a:lnTo>
                  <a:pt x="0" y="0"/>
                </a:lnTo>
                <a:lnTo>
                  <a:pt x="0" y="706"/>
                </a:lnTo>
                <a:lnTo>
                  <a:pt x="704" y="706"/>
                </a:lnTo>
                <a:lnTo>
                  <a:pt x="704" y="0"/>
                </a:lnTo>
                <a:lnTo>
                  <a:pt x="510" y="0"/>
                </a:lnTo>
                <a:close/>
                <a:moveTo>
                  <a:pt x="673" y="677"/>
                </a:moveTo>
                <a:lnTo>
                  <a:pt x="31" y="677"/>
                </a:lnTo>
                <a:lnTo>
                  <a:pt x="31" y="31"/>
                </a:lnTo>
                <a:lnTo>
                  <a:pt x="318" y="31"/>
                </a:lnTo>
                <a:lnTo>
                  <a:pt x="318" y="31"/>
                </a:lnTo>
                <a:lnTo>
                  <a:pt x="211" y="340"/>
                </a:lnTo>
                <a:lnTo>
                  <a:pt x="318" y="341"/>
                </a:lnTo>
                <a:lnTo>
                  <a:pt x="216" y="641"/>
                </a:lnTo>
                <a:lnTo>
                  <a:pt x="559" y="216"/>
                </a:lnTo>
                <a:lnTo>
                  <a:pt x="409" y="216"/>
                </a:lnTo>
                <a:lnTo>
                  <a:pt x="473" y="31"/>
                </a:lnTo>
                <a:lnTo>
                  <a:pt x="673" y="31"/>
                </a:lnTo>
                <a:lnTo>
                  <a:pt x="673"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62" name="Rectangle 61">
            <a:extLst>
              <a:ext uri="{FF2B5EF4-FFF2-40B4-BE49-F238E27FC236}">
                <a16:creationId xmlns:a16="http://schemas.microsoft.com/office/drawing/2014/main" id="{2807FCC7-6EAD-0C0D-B605-03EEAC731F8C}"/>
              </a:ext>
            </a:extLst>
          </p:cNvPr>
          <p:cNvSpPr/>
          <p:nvPr/>
        </p:nvSpPr>
        <p:spPr>
          <a:xfrm>
            <a:off x="11102200" y="2903046"/>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Negaiss</a:t>
            </a:r>
            <a:r>
              <a:rPr lang="en-GB"/>
              <a:t> un </a:t>
            </a:r>
            <a:r>
              <a:rPr lang="en-GB" err="1"/>
              <a:t>stiprs</a:t>
            </a:r>
            <a:r>
              <a:rPr lang="en-GB"/>
              <a:t> </a:t>
            </a:r>
            <a:r>
              <a:rPr lang="en-GB" err="1"/>
              <a:t>vējš</a:t>
            </a:r>
            <a:br>
              <a:rPr lang="lv-LV"/>
            </a:br>
            <a:r>
              <a:rPr lang="lv-LV">
                <a:solidFill>
                  <a:srgbClr val="A8192D"/>
                </a:solidFill>
              </a:rPr>
              <a:t>Kā rīkoties? (4/4)</a:t>
            </a:r>
            <a:endParaRPr lang="en-GB"/>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4</a:t>
            </a:fld>
            <a:endParaRPr lang="en-GB"/>
          </a:p>
        </p:txBody>
      </p:sp>
      <p:sp>
        <p:nvSpPr>
          <p:cNvPr id="36" name="Rectangle 35">
            <a:extLst>
              <a:ext uri="{FF2B5EF4-FFF2-40B4-BE49-F238E27FC236}">
                <a16:creationId xmlns:a16="http://schemas.microsoft.com/office/drawing/2014/main" id="{3C145E88-345E-DEB9-9ABA-4CC30EEE55EB}"/>
              </a:ext>
            </a:extLst>
          </p:cNvPr>
          <p:cNvSpPr/>
          <p:nvPr/>
        </p:nvSpPr>
        <p:spPr>
          <a:xfrm>
            <a:off x="1100138" y="3626277"/>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Ja ēkā pēkšņi pazūd elektrība, noskaidro, vai elektrības nav tikai tavā mājoklī, visā ēkā vai arī tuvumā esošajās kaimiņu ēkās. Krēslas stundās un tumsā, paskatoties pa logu, var redzēt, vai blakus esošo ēku logi ir apgaismoti.</a:t>
            </a:r>
          </a:p>
        </p:txBody>
      </p:sp>
      <p:sp>
        <p:nvSpPr>
          <p:cNvPr id="14" name="Rectangle 13">
            <a:extLst>
              <a:ext uri="{FF2B5EF4-FFF2-40B4-BE49-F238E27FC236}">
                <a16:creationId xmlns:a16="http://schemas.microsoft.com/office/drawing/2014/main" id="{4B888F26-7D1A-CA27-B5A8-6248A7263371}"/>
              </a:ext>
            </a:extLst>
          </p:cNvPr>
          <p:cNvSpPr/>
          <p:nvPr/>
        </p:nvSpPr>
        <p:spPr>
          <a:xfrm>
            <a:off x="1100138" y="4711655"/>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Izslēdz vai atvieno ierīces, kas patērē elektroenerģiju, lai tās droši darbinātu tad, kad elektroenerģijas piegāde tiks atjaunota.</a:t>
            </a:r>
            <a:endParaRPr lang="lv-LV" sz="1200" b="0" i="0">
              <a:solidFill>
                <a:schemeClr val="tx1"/>
              </a:solidFill>
              <a:effectLst/>
            </a:endParaRPr>
          </a:p>
        </p:txBody>
      </p:sp>
      <p:cxnSp>
        <p:nvCxnSpPr>
          <p:cNvPr id="17" name="Straight Connector 16">
            <a:extLst>
              <a:ext uri="{FF2B5EF4-FFF2-40B4-BE49-F238E27FC236}">
                <a16:creationId xmlns:a16="http://schemas.microsoft.com/office/drawing/2014/main" id="{3613A840-4E6D-FAE5-4D8C-5E63294A7644}"/>
              </a:ext>
            </a:extLst>
          </p:cNvPr>
          <p:cNvCxnSpPr>
            <a:cxnSpLocks/>
          </p:cNvCxnSpPr>
          <p:nvPr/>
        </p:nvCxnSpPr>
        <p:spPr>
          <a:xfrm>
            <a:off x="1100137" y="5710293"/>
            <a:ext cx="10648950"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8" name="Rectangle 17">
            <a:extLst>
              <a:ext uri="{FF2B5EF4-FFF2-40B4-BE49-F238E27FC236}">
                <a16:creationId xmlns:a16="http://schemas.microsoft.com/office/drawing/2014/main" id="{257A3C35-39C9-A4E6-1837-31F170B2C97A}"/>
              </a:ext>
            </a:extLst>
          </p:cNvPr>
          <p:cNvSpPr/>
          <p:nvPr/>
        </p:nvSpPr>
        <p:spPr>
          <a:xfrm>
            <a:off x="1100138" y="4168966"/>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Ja esi konstatējis, ka elektrības nav visā dzīvojamā mājā vai plašākā apkārtnē, zvani uz akciju sabiedrības "Sadales tīkls" bezmaksas bojājumu pieteikšanas tālruni 80 200 404.</a:t>
            </a:r>
            <a:endParaRPr lang="lv-LV" sz="1200" b="0" i="0">
              <a:solidFill>
                <a:schemeClr val="tx1"/>
              </a:solidFill>
              <a:effectLst/>
              <a:cs typeface="Arial"/>
            </a:endParaRPr>
          </a:p>
        </p:txBody>
      </p:sp>
      <p:cxnSp>
        <p:nvCxnSpPr>
          <p:cNvPr id="21" name="Straight Connector 20">
            <a:extLst>
              <a:ext uri="{FF2B5EF4-FFF2-40B4-BE49-F238E27FC236}">
                <a16:creationId xmlns:a16="http://schemas.microsoft.com/office/drawing/2014/main" id="{F3097C31-51F2-D5F8-7426-0A669C9D933B}"/>
              </a:ext>
            </a:extLst>
          </p:cNvPr>
          <p:cNvCxnSpPr>
            <a:cxnSpLocks/>
          </p:cNvCxnSpPr>
          <p:nvPr/>
        </p:nvCxnSpPr>
        <p:spPr>
          <a:xfrm>
            <a:off x="1100137" y="4082226"/>
            <a:ext cx="10648950"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BDC99A0B-8AB3-4918-5B31-2F9C4926A28C}"/>
              </a:ext>
            </a:extLst>
          </p:cNvPr>
          <p:cNvSpPr/>
          <p:nvPr/>
        </p:nvSpPr>
        <p:spPr>
          <a:xfrm>
            <a:off x="1100138" y="5254344"/>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Lieto mobilo tālruni tikai ārkārtas gadījumos un zvani 1 1 2 tikai situācijās, kad ir apdraudēta dzīvība vai veselība. Ilgstošas elektrības piegādes traucējumu gadījumā mobilais tālrunis Tev būs nepieciešams, lai sazinātos un saņemtu palīdzību.</a:t>
            </a:r>
            <a:endParaRPr lang="lv-LV" sz="1200" b="1" i="0">
              <a:solidFill>
                <a:schemeClr val="tx1"/>
              </a:solidFill>
              <a:effectLst/>
            </a:endParaRPr>
          </a:p>
        </p:txBody>
      </p:sp>
      <p:cxnSp>
        <p:nvCxnSpPr>
          <p:cNvPr id="31" name="Straight Connector 30">
            <a:extLst>
              <a:ext uri="{FF2B5EF4-FFF2-40B4-BE49-F238E27FC236}">
                <a16:creationId xmlns:a16="http://schemas.microsoft.com/office/drawing/2014/main" id="{A23283C8-AC46-8F65-599C-AE50F7F5ECCA}"/>
              </a:ext>
            </a:extLst>
          </p:cNvPr>
          <p:cNvCxnSpPr>
            <a:cxnSpLocks/>
          </p:cNvCxnSpPr>
          <p:nvPr/>
        </p:nvCxnSpPr>
        <p:spPr>
          <a:xfrm>
            <a:off x="1100137" y="5167604"/>
            <a:ext cx="10648950"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642FDFF0-C1EF-2DFC-03F4-C85494893547}"/>
              </a:ext>
            </a:extLst>
          </p:cNvPr>
          <p:cNvSpPr/>
          <p:nvPr/>
        </p:nvSpPr>
        <p:spPr>
          <a:xfrm>
            <a:off x="1100137" y="5776200"/>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Lai pasargātu savas elektroietaises no īslaicīgu spriegumu pārtraukumu radītas ietekmes, var nodrošināties ar </a:t>
            </a:r>
            <a:r>
              <a:rPr lang="lv-LV" sz="1200" err="1">
                <a:solidFill>
                  <a:schemeClr val="tx1"/>
                </a:solidFill>
              </a:rPr>
              <a:t>bezpārtraukuma</a:t>
            </a:r>
            <a:r>
              <a:rPr lang="lv-LV" sz="1200">
                <a:solidFill>
                  <a:schemeClr val="tx1"/>
                </a:solidFill>
              </a:rPr>
              <a:t> barošanas avotiem - UPS - kas paredzēti dažādu elektroierīču darbības nodrošināšanai elektroenerģijas piegādes pārtraukumu laikā.</a:t>
            </a:r>
            <a:endParaRPr lang="lv-LV" sz="1200" b="0" i="0">
              <a:solidFill>
                <a:schemeClr val="tx1"/>
              </a:solidFill>
              <a:effectLst/>
            </a:endParaRPr>
          </a:p>
        </p:txBody>
      </p:sp>
      <p:cxnSp>
        <p:nvCxnSpPr>
          <p:cNvPr id="4" name="Straight Connector 3">
            <a:extLst>
              <a:ext uri="{FF2B5EF4-FFF2-40B4-BE49-F238E27FC236}">
                <a16:creationId xmlns:a16="http://schemas.microsoft.com/office/drawing/2014/main" id="{A34C0450-1485-CB4E-D4F8-1B9D567AB1FF}"/>
              </a:ext>
            </a:extLst>
          </p:cNvPr>
          <p:cNvCxnSpPr>
            <a:cxnSpLocks/>
          </p:cNvCxnSpPr>
          <p:nvPr/>
        </p:nvCxnSpPr>
        <p:spPr>
          <a:xfrm>
            <a:off x="1100137" y="4624915"/>
            <a:ext cx="10648950"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6" name="Rectangle 25">
            <a:extLst>
              <a:ext uri="{FF2B5EF4-FFF2-40B4-BE49-F238E27FC236}">
                <a16:creationId xmlns:a16="http://schemas.microsoft.com/office/drawing/2014/main" id="{F0CB5772-83FD-A70A-A885-67FCEEE49754}"/>
              </a:ext>
            </a:extLst>
          </p:cNvPr>
          <p:cNvSpPr/>
          <p:nvPr/>
        </p:nvSpPr>
        <p:spPr>
          <a:xfrm>
            <a:off x="442913" y="361784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47" name="Rectangle 46">
            <a:extLst>
              <a:ext uri="{FF2B5EF4-FFF2-40B4-BE49-F238E27FC236}">
                <a16:creationId xmlns:a16="http://schemas.microsoft.com/office/drawing/2014/main" id="{DE28A1F8-05E1-2D2E-5F4B-FFE030D33C0D}"/>
              </a:ext>
            </a:extLst>
          </p:cNvPr>
          <p:cNvSpPr/>
          <p:nvPr/>
        </p:nvSpPr>
        <p:spPr>
          <a:xfrm>
            <a:off x="442913" y="415743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51" name="Rectangle 50">
            <a:extLst>
              <a:ext uri="{FF2B5EF4-FFF2-40B4-BE49-F238E27FC236}">
                <a16:creationId xmlns:a16="http://schemas.microsoft.com/office/drawing/2014/main" id="{459753F3-41F3-63B5-45E4-F3B58708C5B6}"/>
              </a:ext>
            </a:extLst>
          </p:cNvPr>
          <p:cNvSpPr/>
          <p:nvPr/>
        </p:nvSpPr>
        <p:spPr>
          <a:xfrm>
            <a:off x="442913" y="469702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15" name="Rectangle 14">
            <a:extLst>
              <a:ext uri="{FF2B5EF4-FFF2-40B4-BE49-F238E27FC236}">
                <a16:creationId xmlns:a16="http://schemas.microsoft.com/office/drawing/2014/main" id="{9E0E0D22-42F4-802B-FD44-EDC127F0142C}"/>
              </a:ext>
            </a:extLst>
          </p:cNvPr>
          <p:cNvSpPr/>
          <p:nvPr/>
        </p:nvSpPr>
        <p:spPr>
          <a:xfrm>
            <a:off x="442913" y="577620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34" name="Rectangle 33">
            <a:extLst>
              <a:ext uri="{FF2B5EF4-FFF2-40B4-BE49-F238E27FC236}">
                <a16:creationId xmlns:a16="http://schemas.microsoft.com/office/drawing/2014/main" id="{31E65DFA-47A0-4AD8-6B27-3C86CFB7284A}"/>
              </a:ext>
            </a:extLst>
          </p:cNvPr>
          <p:cNvSpPr/>
          <p:nvPr/>
        </p:nvSpPr>
        <p:spPr>
          <a:xfrm>
            <a:off x="442913" y="523661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9" name="L-Shape 8">
            <a:extLst>
              <a:ext uri="{FF2B5EF4-FFF2-40B4-BE49-F238E27FC236}">
                <a16:creationId xmlns:a16="http://schemas.microsoft.com/office/drawing/2014/main" id="{9EBB1D1E-6449-913E-E858-C48CC79A35B7}"/>
              </a:ext>
            </a:extLst>
          </p:cNvPr>
          <p:cNvSpPr/>
          <p:nvPr/>
        </p:nvSpPr>
        <p:spPr>
          <a:xfrm rot="13500000">
            <a:off x="559307" y="367945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11" name="L-Shape 10">
            <a:extLst>
              <a:ext uri="{FF2B5EF4-FFF2-40B4-BE49-F238E27FC236}">
                <a16:creationId xmlns:a16="http://schemas.microsoft.com/office/drawing/2014/main" id="{2699A53A-B3BD-81F5-62B1-E1AFB84CBAF9}"/>
              </a:ext>
            </a:extLst>
          </p:cNvPr>
          <p:cNvSpPr/>
          <p:nvPr/>
        </p:nvSpPr>
        <p:spPr>
          <a:xfrm rot="13500000">
            <a:off x="559307" y="47586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12" name="L-Shape 11">
            <a:extLst>
              <a:ext uri="{FF2B5EF4-FFF2-40B4-BE49-F238E27FC236}">
                <a16:creationId xmlns:a16="http://schemas.microsoft.com/office/drawing/2014/main" id="{EEEC8714-4554-535F-5536-4371C6F9A1BA}"/>
              </a:ext>
            </a:extLst>
          </p:cNvPr>
          <p:cNvSpPr/>
          <p:nvPr/>
        </p:nvSpPr>
        <p:spPr>
          <a:xfrm rot="13500000">
            <a:off x="559307" y="5837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13" name="L-Shape 12">
            <a:extLst>
              <a:ext uri="{FF2B5EF4-FFF2-40B4-BE49-F238E27FC236}">
                <a16:creationId xmlns:a16="http://schemas.microsoft.com/office/drawing/2014/main" id="{3F193BB6-564F-7ED4-20BE-73BF54343CE7}"/>
              </a:ext>
            </a:extLst>
          </p:cNvPr>
          <p:cNvSpPr/>
          <p:nvPr/>
        </p:nvSpPr>
        <p:spPr>
          <a:xfrm rot="13500000">
            <a:off x="559307" y="421904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16" name="L-Shape 15">
            <a:extLst>
              <a:ext uri="{FF2B5EF4-FFF2-40B4-BE49-F238E27FC236}">
                <a16:creationId xmlns:a16="http://schemas.microsoft.com/office/drawing/2014/main" id="{DE200739-7B25-E26F-EE8E-B08BBC35C608}"/>
              </a:ext>
            </a:extLst>
          </p:cNvPr>
          <p:cNvSpPr/>
          <p:nvPr/>
        </p:nvSpPr>
        <p:spPr>
          <a:xfrm rot="13500000">
            <a:off x="559307" y="529822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5" name="Rectangle 4">
            <a:extLst>
              <a:ext uri="{FF2B5EF4-FFF2-40B4-BE49-F238E27FC236}">
                <a16:creationId xmlns:a16="http://schemas.microsoft.com/office/drawing/2014/main" id="{82C91F83-6981-8B2A-FA3C-1F2F3ADFB9FD}"/>
              </a:ext>
            </a:extLst>
          </p:cNvPr>
          <p:cNvSpPr/>
          <p:nvPr/>
        </p:nvSpPr>
        <p:spPr>
          <a:xfrm>
            <a:off x="442913" y="1825292"/>
            <a:ext cx="576263" cy="93895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5" name="L-Shape 24">
            <a:extLst>
              <a:ext uri="{FF2B5EF4-FFF2-40B4-BE49-F238E27FC236}">
                <a16:creationId xmlns:a16="http://schemas.microsoft.com/office/drawing/2014/main" id="{73193CD6-27B5-A6F9-730A-EA354B870D72}"/>
              </a:ext>
            </a:extLst>
          </p:cNvPr>
          <p:cNvSpPr/>
          <p:nvPr/>
        </p:nvSpPr>
        <p:spPr>
          <a:xfrm rot="13500000">
            <a:off x="559307" y="2158383"/>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776849C3-7FBF-04FF-D16B-8FA65D926E2D}"/>
              </a:ext>
            </a:extLst>
          </p:cNvPr>
          <p:cNvSpPr/>
          <p:nvPr/>
        </p:nvSpPr>
        <p:spPr>
          <a:xfrm>
            <a:off x="1100137" y="1825292"/>
            <a:ext cx="10648951" cy="93615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i="0">
                <a:solidFill>
                  <a:schemeClr val="tx1"/>
                </a:solidFill>
                <a:effectLst/>
              </a:rPr>
              <a:t>Elektrodrošība vētras laikā </a:t>
            </a:r>
            <a:r>
              <a:rPr lang="lv-LV" sz="1400" b="0" i="0">
                <a:solidFill>
                  <a:schemeClr val="tx1"/>
                </a:solidFill>
                <a:effectLst/>
              </a:rPr>
              <a:t>– ja uz mājas ir uzgāzies vēja nolauzts koks, kas vienlaikus arī traucē elektroapgādi, nekādā gadījumā netuvojieties lūzuša koka bojātām vai pārrautām elektrolīnijām, bet nekavējoties sazinieties ar AS “Sadales tīkls” Klientu servisu pa bezmaksas tālruni </a:t>
            </a:r>
            <a:r>
              <a:rPr lang="lv-LV" sz="1400" b="1" i="0">
                <a:solidFill>
                  <a:schemeClr val="tx1"/>
                </a:solidFill>
                <a:effectLst/>
              </a:rPr>
              <a:t>8404</a:t>
            </a:r>
            <a:r>
              <a:rPr lang="lv-LV" sz="1400" b="0" i="0">
                <a:solidFill>
                  <a:schemeClr val="tx1"/>
                </a:solidFill>
                <a:effectLst/>
              </a:rPr>
              <a:t> un informējiet par situāciju.</a:t>
            </a:r>
          </a:p>
        </p:txBody>
      </p:sp>
      <p:grpSp>
        <p:nvGrpSpPr>
          <p:cNvPr id="7" name="Group 6">
            <a:extLst>
              <a:ext uri="{FF2B5EF4-FFF2-40B4-BE49-F238E27FC236}">
                <a16:creationId xmlns:a16="http://schemas.microsoft.com/office/drawing/2014/main" id="{B88018E5-10E9-6F3C-CDA4-6F3598B8C6B1}"/>
              </a:ext>
            </a:extLst>
          </p:cNvPr>
          <p:cNvGrpSpPr/>
          <p:nvPr/>
        </p:nvGrpSpPr>
        <p:grpSpPr>
          <a:xfrm>
            <a:off x="9190780" y="159786"/>
            <a:ext cx="2558308" cy="217488"/>
            <a:chOff x="9190780" y="159786"/>
            <a:chExt cx="2558308" cy="217488"/>
          </a:xfrm>
        </p:grpSpPr>
        <p:sp>
          <p:nvSpPr>
            <p:cNvPr id="19" name="Rectangle 18">
              <a:extLst>
                <a:ext uri="{FF2B5EF4-FFF2-40B4-BE49-F238E27FC236}">
                  <a16:creationId xmlns:a16="http://schemas.microsoft.com/office/drawing/2014/main" id="{F4C19BE5-2670-8B4F-5008-5B798883F7D4}"/>
                </a:ext>
              </a:extLst>
            </p:cNvPr>
            <p:cNvSpPr/>
            <p:nvPr/>
          </p:nvSpPr>
          <p:spPr>
            <a:xfrm>
              <a:off x="9432606" y="159786"/>
              <a:ext cx="1833251"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8002495A-747F-81C2-6A5D-2A827F2905C8}"/>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7A54A6DF-F754-DD40-BDF3-5F9329C5010B}"/>
                </a:ext>
              </a:extLst>
            </p:cNvPr>
            <p:cNvSpPr/>
            <p:nvPr/>
          </p:nvSpPr>
          <p:spPr>
            <a:xfrm>
              <a:off x="919078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A62D7911-BB38-DD6A-164E-69487175B100}"/>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403530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4ECA4EC1-4AF7-B0A9-BC88-A57CE40175C6}"/>
              </a:ext>
            </a:extLst>
          </p:cNvPr>
          <p:cNvGraphicFramePr>
            <a:graphicFrameLocks noChangeAspect="1"/>
          </p:cNvGraphicFramePr>
          <p:nvPr>
            <p:custDataLst>
              <p:tags r:id="rId1"/>
            </p:custDataLst>
            <p:extLst>
              <p:ext uri="{D42A27DB-BD31-4B8C-83A1-F6EECF244321}">
                <p14:modId xmlns:p14="http://schemas.microsoft.com/office/powerpoint/2010/main" val="106657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49" name="think-cell data - do not delete" hidden="1">
                        <a:extLst>
                          <a:ext uri="{FF2B5EF4-FFF2-40B4-BE49-F238E27FC236}">
                            <a16:creationId xmlns:a16="http://schemas.microsoft.com/office/drawing/2014/main" id="{4ECA4EC1-4AF7-B0A9-BC88-A57CE4017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DC58C25F-8110-0C29-4A50-5DADA78B621C}"/>
              </a:ext>
            </a:extLst>
          </p:cNvPr>
          <p:cNvSpPr/>
          <p:nvPr/>
        </p:nvSpPr>
        <p:spPr>
          <a:xfrm>
            <a:off x="4338437" y="1819275"/>
            <a:ext cx="41513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a:t>Karstums:</a:t>
            </a:r>
          </a:p>
        </p:txBody>
      </p:sp>
      <p:sp>
        <p:nvSpPr>
          <p:cNvPr id="69" name="Rectangle 68">
            <a:extLst>
              <a:ext uri="{FF2B5EF4-FFF2-40B4-BE49-F238E27FC236}">
                <a16:creationId xmlns:a16="http://schemas.microsoft.com/office/drawing/2014/main" id="{6F441B59-1EA1-79F9-2301-6600202372C1}"/>
              </a:ext>
            </a:extLst>
          </p:cNvPr>
          <p:cNvSpPr/>
          <p:nvPr/>
        </p:nvSpPr>
        <p:spPr>
          <a:xfrm>
            <a:off x="7913749"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Google Shape;1047;p85">
            <a:extLst>
              <a:ext uri="{FF2B5EF4-FFF2-40B4-BE49-F238E27FC236}">
                <a16:creationId xmlns:a16="http://schemas.microsoft.com/office/drawing/2014/main" id="{14D02773-A121-524D-61FF-DF21F9526553}"/>
              </a:ext>
            </a:extLst>
          </p:cNvPr>
          <p:cNvSpPr/>
          <p:nvPr/>
        </p:nvSpPr>
        <p:spPr>
          <a:xfrm>
            <a:off x="8021386" y="1927275"/>
            <a:ext cx="360363" cy="361950"/>
          </a:xfrm>
          <a:custGeom>
            <a:avLst/>
            <a:gdLst/>
            <a:ahLst/>
            <a:cxnLst/>
            <a:rect l="l" t="t" r="r" b="b"/>
            <a:pathLst>
              <a:path w="456085" h="455929" extrusionOk="0">
                <a:moveTo>
                  <a:pt x="274633" y="311330"/>
                </a:moveTo>
                <a:cubicBezTo>
                  <a:pt x="298853" y="335811"/>
                  <a:pt x="298632" y="375284"/>
                  <a:pt x="274142" y="399493"/>
                </a:cubicBezTo>
                <a:cubicBezTo>
                  <a:pt x="249653" y="423705"/>
                  <a:pt x="210170" y="423486"/>
                  <a:pt x="185950" y="399005"/>
                </a:cubicBezTo>
                <a:cubicBezTo>
                  <a:pt x="161920" y="374717"/>
                  <a:pt x="161920" y="335618"/>
                  <a:pt x="185950" y="311330"/>
                </a:cubicBezTo>
                <a:lnTo>
                  <a:pt x="185950" y="143966"/>
                </a:lnTo>
                <a:cubicBezTo>
                  <a:pt x="185950" y="85645"/>
                  <a:pt x="274633" y="85645"/>
                  <a:pt x="274633" y="143966"/>
                </a:cubicBezTo>
                <a:close/>
                <a:moveTo>
                  <a:pt x="249105" y="138964"/>
                </a:moveTo>
                <a:lnTo>
                  <a:pt x="249105" y="323362"/>
                </a:lnTo>
                <a:cubicBezTo>
                  <a:pt x="266471" y="333855"/>
                  <a:pt x="272039" y="356433"/>
                  <a:pt x="261546" y="373793"/>
                </a:cubicBezTo>
                <a:cubicBezTo>
                  <a:pt x="251050" y="391153"/>
                  <a:pt x="228464" y="396719"/>
                  <a:pt x="211098" y="386227"/>
                </a:cubicBezTo>
                <a:cubicBezTo>
                  <a:pt x="193732" y="375737"/>
                  <a:pt x="188164" y="353159"/>
                  <a:pt x="198657" y="335799"/>
                </a:cubicBezTo>
                <a:cubicBezTo>
                  <a:pt x="201736" y="330708"/>
                  <a:pt x="206005" y="326440"/>
                  <a:pt x="211098" y="323362"/>
                </a:cubicBezTo>
                <a:lnTo>
                  <a:pt x="211098" y="138964"/>
                </a:lnTo>
                <a:close/>
                <a:moveTo>
                  <a:pt x="262946" y="320006"/>
                </a:moveTo>
                <a:cubicBezTo>
                  <a:pt x="261188" y="318600"/>
                  <a:pt x="260172" y="316463"/>
                  <a:pt x="260191" y="314212"/>
                </a:cubicBezTo>
                <a:lnTo>
                  <a:pt x="260191" y="143966"/>
                </a:lnTo>
                <a:cubicBezTo>
                  <a:pt x="260191" y="104547"/>
                  <a:pt x="200013" y="104547"/>
                  <a:pt x="200013" y="143966"/>
                </a:cubicBezTo>
                <a:lnTo>
                  <a:pt x="200013" y="314212"/>
                </a:lnTo>
                <a:lnTo>
                  <a:pt x="200013" y="314212"/>
                </a:lnTo>
                <a:cubicBezTo>
                  <a:pt x="200013" y="316118"/>
                  <a:pt x="199208" y="317935"/>
                  <a:pt x="197796" y="319214"/>
                </a:cubicBezTo>
                <a:cubicBezTo>
                  <a:pt x="178162" y="337084"/>
                  <a:pt x="176736" y="367483"/>
                  <a:pt x="194612" y="387110"/>
                </a:cubicBezTo>
                <a:cubicBezTo>
                  <a:pt x="212492" y="406737"/>
                  <a:pt x="242900" y="408162"/>
                  <a:pt x="262534" y="390292"/>
                </a:cubicBezTo>
                <a:cubicBezTo>
                  <a:pt x="282168" y="372422"/>
                  <a:pt x="283590" y="342024"/>
                  <a:pt x="265714" y="322396"/>
                </a:cubicBezTo>
                <a:cubicBezTo>
                  <a:pt x="265711" y="322390"/>
                  <a:pt x="265705" y="322387"/>
                  <a:pt x="265702" y="322380"/>
                </a:cubicBezTo>
                <a:cubicBezTo>
                  <a:pt x="264846" y="321462"/>
                  <a:pt x="263960" y="320544"/>
                  <a:pt x="263041" y="319658"/>
                </a:cubicBezTo>
                <a:close/>
                <a:moveTo>
                  <a:pt x="224116" y="39767"/>
                </a:moveTo>
                <a:lnTo>
                  <a:pt x="224116" y="83397"/>
                </a:lnTo>
                <a:lnTo>
                  <a:pt x="238368" y="83397"/>
                </a:lnTo>
                <a:lnTo>
                  <a:pt x="238368" y="39767"/>
                </a:lnTo>
                <a:close/>
                <a:moveTo>
                  <a:pt x="333576" y="141718"/>
                </a:moveTo>
                <a:lnTo>
                  <a:pt x="289931" y="141718"/>
                </a:lnTo>
                <a:lnTo>
                  <a:pt x="289931" y="155934"/>
                </a:lnTo>
                <a:lnTo>
                  <a:pt x="333576" y="155934"/>
                </a:lnTo>
                <a:close/>
                <a:moveTo>
                  <a:pt x="321699" y="93117"/>
                </a:moveTo>
                <a:lnTo>
                  <a:pt x="282488" y="112115"/>
                </a:lnTo>
                <a:lnTo>
                  <a:pt x="288823" y="124779"/>
                </a:lnTo>
                <a:lnTo>
                  <a:pt x="328033" y="105782"/>
                </a:lnTo>
                <a:close/>
                <a:moveTo>
                  <a:pt x="283090" y="52749"/>
                </a:moveTo>
                <a:lnTo>
                  <a:pt x="259145" y="89128"/>
                </a:lnTo>
                <a:lnTo>
                  <a:pt x="271023" y="97012"/>
                </a:lnTo>
                <a:lnTo>
                  <a:pt x="295125" y="60601"/>
                </a:lnTo>
                <a:close/>
                <a:moveTo>
                  <a:pt x="126374" y="153813"/>
                </a:moveTo>
                <a:lnTo>
                  <a:pt x="170019" y="153813"/>
                </a:lnTo>
                <a:lnTo>
                  <a:pt x="170019" y="139565"/>
                </a:lnTo>
                <a:lnTo>
                  <a:pt x="126374" y="139565"/>
                </a:lnTo>
                <a:close/>
                <a:moveTo>
                  <a:pt x="130713" y="105909"/>
                </a:moveTo>
                <a:lnTo>
                  <a:pt x="169955" y="124906"/>
                </a:lnTo>
                <a:lnTo>
                  <a:pt x="176290" y="112241"/>
                </a:lnTo>
                <a:lnTo>
                  <a:pt x="137079" y="93244"/>
                </a:lnTo>
                <a:close/>
                <a:moveTo>
                  <a:pt x="166281" y="60601"/>
                </a:moveTo>
                <a:lnTo>
                  <a:pt x="190353" y="97012"/>
                </a:lnTo>
                <a:lnTo>
                  <a:pt x="202261" y="89128"/>
                </a:lnTo>
                <a:lnTo>
                  <a:pt x="178159" y="52749"/>
                </a:lnTo>
                <a:close/>
                <a:moveTo>
                  <a:pt x="0" y="0"/>
                </a:moveTo>
                <a:lnTo>
                  <a:pt x="0" y="455930"/>
                </a:lnTo>
                <a:lnTo>
                  <a:pt x="456086" y="455930"/>
                </a:lnTo>
                <a:lnTo>
                  <a:pt x="456086" y="0"/>
                </a:lnTo>
                <a:close/>
                <a:moveTo>
                  <a:pt x="436512" y="436426"/>
                </a:moveTo>
                <a:lnTo>
                  <a:pt x="19447" y="436426"/>
                </a:lnTo>
                <a:lnTo>
                  <a:pt x="19447" y="19440"/>
                </a:lnTo>
                <a:lnTo>
                  <a:pt x="436512" y="19440"/>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2" name="Rectangle 31">
            <a:extLst>
              <a:ext uri="{FF2B5EF4-FFF2-40B4-BE49-F238E27FC236}">
                <a16:creationId xmlns:a16="http://schemas.microsoft.com/office/drawing/2014/main" id="{94D74FF9-3F66-8CB9-4846-35CDEBE3E6D0}"/>
              </a:ext>
            </a:extLst>
          </p:cNvPr>
          <p:cNvSpPr/>
          <p:nvPr/>
        </p:nvSpPr>
        <p:spPr>
          <a:xfrm>
            <a:off x="8841971" y="1815438"/>
            <a:ext cx="290711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err="1">
                <a:solidFill>
                  <a:schemeClr val="tx1"/>
                </a:solidFill>
              </a:rPr>
              <a:t>Liels</a:t>
            </a:r>
            <a:r>
              <a:rPr lang="es-ES" sz="1600" b="1">
                <a:solidFill>
                  <a:schemeClr val="tx1"/>
                </a:solidFill>
              </a:rPr>
              <a:t> </a:t>
            </a:r>
            <a:r>
              <a:rPr lang="es-ES" sz="1600" b="1" err="1">
                <a:solidFill>
                  <a:schemeClr val="tx1"/>
                </a:solidFill>
              </a:rPr>
              <a:t>sausums</a:t>
            </a:r>
            <a:r>
              <a:rPr lang="es-ES" sz="1600" b="1">
                <a:solidFill>
                  <a:schemeClr val="tx1"/>
                </a:solidFill>
              </a:rPr>
              <a:t>:</a:t>
            </a:r>
          </a:p>
        </p:txBody>
      </p:sp>
      <p:sp>
        <p:nvSpPr>
          <p:cNvPr id="44" name="Rectangle 43">
            <a:extLst>
              <a:ext uri="{FF2B5EF4-FFF2-40B4-BE49-F238E27FC236}">
                <a16:creationId xmlns:a16="http://schemas.microsoft.com/office/drawing/2014/main" id="{5172E8FF-DAC1-6617-58ED-997BC699D3A9}"/>
              </a:ext>
            </a:extLst>
          </p:cNvPr>
          <p:cNvSpPr/>
          <p:nvPr/>
        </p:nvSpPr>
        <p:spPr>
          <a:xfrm>
            <a:off x="11176354" y="1815438"/>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 name="Google Shape;1046;p85">
            <a:extLst>
              <a:ext uri="{FF2B5EF4-FFF2-40B4-BE49-F238E27FC236}">
                <a16:creationId xmlns:a16="http://schemas.microsoft.com/office/drawing/2014/main" id="{E2AB182A-689F-4D8E-EAA8-69C1B781D7C1}"/>
              </a:ext>
            </a:extLst>
          </p:cNvPr>
          <p:cNvSpPr/>
          <p:nvPr/>
        </p:nvSpPr>
        <p:spPr>
          <a:xfrm>
            <a:off x="11283991" y="1923256"/>
            <a:ext cx="360363" cy="360363"/>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249463"/>
                </a:lnTo>
                <a:lnTo>
                  <a:pt x="136350" y="249463"/>
                </a:lnTo>
                <a:lnTo>
                  <a:pt x="133532" y="278244"/>
                </a:lnTo>
                <a:lnTo>
                  <a:pt x="87290" y="298349"/>
                </a:lnTo>
                <a:lnTo>
                  <a:pt x="51373" y="373704"/>
                </a:lnTo>
                <a:lnTo>
                  <a:pt x="68508" y="381905"/>
                </a:lnTo>
                <a:lnTo>
                  <a:pt x="101384" y="312977"/>
                </a:lnTo>
                <a:lnTo>
                  <a:pt x="151363" y="291257"/>
                </a:lnTo>
                <a:lnTo>
                  <a:pt x="155449" y="249495"/>
                </a:lnTo>
                <a:lnTo>
                  <a:pt x="191936" y="249495"/>
                </a:lnTo>
                <a:lnTo>
                  <a:pt x="181357" y="293505"/>
                </a:lnTo>
                <a:lnTo>
                  <a:pt x="138631" y="345747"/>
                </a:lnTo>
                <a:lnTo>
                  <a:pt x="153327" y="357747"/>
                </a:lnTo>
                <a:lnTo>
                  <a:pt x="187914" y="315510"/>
                </a:lnTo>
                <a:lnTo>
                  <a:pt x="197700" y="339478"/>
                </a:lnTo>
                <a:lnTo>
                  <a:pt x="154974" y="391688"/>
                </a:lnTo>
                <a:lnTo>
                  <a:pt x="169670" y="403719"/>
                </a:lnTo>
                <a:lnTo>
                  <a:pt x="219554" y="342770"/>
                </a:lnTo>
                <a:lnTo>
                  <a:pt x="200234" y="295721"/>
                </a:lnTo>
                <a:lnTo>
                  <a:pt x="211351" y="249463"/>
                </a:lnTo>
                <a:lnTo>
                  <a:pt x="237893" y="249463"/>
                </a:lnTo>
                <a:lnTo>
                  <a:pt x="231274" y="296956"/>
                </a:lnTo>
                <a:lnTo>
                  <a:pt x="275140" y="321240"/>
                </a:lnTo>
                <a:lnTo>
                  <a:pt x="293067" y="405873"/>
                </a:lnTo>
                <a:lnTo>
                  <a:pt x="311659" y="401946"/>
                </a:lnTo>
                <a:lnTo>
                  <a:pt x="292085" y="308861"/>
                </a:lnTo>
                <a:lnTo>
                  <a:pt x="252082" y="286698"/>
                </a:lnTo>
                <a:lnTo>
                  <a:pt x="257245" y="249495"/>
                </a:lnTo>
                <a:lnTo>
                  <a:pt x="314477" y="249495"/>
                </a:lnTo>
                <a:lnTo>
                  <a:pt x="304184" y="272513"/>
                </a:lnTo>
                <a:lnTo>
                  <a:pt x="359136" y="309494"/>
                </a:lnTo>
                <a:lnTo>
                  <a:pt x="364932" y="331024"/>
                </a:lnTo>
                <a:lnTo>
                  <a:pt x="336427" y="374749"/>
                </a:lnTo>
                <a:lnTo>
                  <a:pt x="352263" y="385102"/>
                </a:lnTo>
                <a:lnTo>
                  <a:pt x="371520" y="355625"/>
                </a:lnTo>
                <a:lnTo>
                  <a:pt x="383239" y="399129"/>
                </a:lnTo>
                <a:lnTo>
                  <a:pt x="401609" y="394189"/>
                </a:lnTo>
                <a:lnTo>
                  <a:pt x="375574" y="297684"/>
                </a:lnTo>
                <a:lnTo>
                  <a:pt x="328065" y="265674"/>
                </a:lnTo>
                <a:lnTo>
                  <a:pt x="335286" y="249495"/>
                </a:lnTo>
                <a:lnTo>
                  <a:pt x="436639" y="249495"/>
                </a:lnTo>
                <a:close/>
                <a:moveTo>
                  <a:pt x="125772" y="178731"/>
                </a:moveTo>
                <a:lnTo>
                  <a:pt x="109366" y="151723"/>
                </a:lnTo>
                <a:lnTo>
                  <a:pt x="140563" y="156567"/>
                </a:lnTo>
                <a:cubicBezTo>
                  <a:pt x="147087" y="157568"/>
                  <a:pt x="153169" y="153097"/>
                  <a:pt x="154182" y="146581"/>
                </a:cubicBezTo>
                <a:cubicBezTo>
                  <a:pt x="154372" y="145391"/>
                  <a:pt x="154372" y="144178"/>
                  <a:pt x="154182" y="142985"/>
                </a:cubicBezTo>
                <a:lnTo>
                  <a:pt x="149337" y="111766"/>
                </a:lnTo>
                <a:lnTo>
                  <a:pt x="176353" y="128167"/>
                </a:lnTo>
                <a:cubicBezTo>
                  <a:pt x="181991" y="131574"/>
                  <a:pt x="189307" y="129775"/>
                  <a:pt x="192696" y="124152"/>
                </a:cubicBezTo>
                <a:cubicBezTo>
                  <a:pt x="193329" y="123120"/>
                  <a:pt x="193805" y="121996"/>
                  <a:pt x="194090" y="120821"/>
                </a:cubicBezTo>
                <a:lnTo>
                  <a:pt x="201596" y="90141"/>
                </a:lnTo>
                <a:lnTo>
                  <a:pt x="220251" y="115470"/>
                </a:lnTo>
                <a:cubicBezTo>
                  <a:pt x="224147" y="120777"/>
                  <a:pt x="231590" y="121933"/>
                  <a:pt x="236879" y="118051"/>
                </a:cubicBezTo>
                <a:cubicBezTo>
                  <a:pt x="237893" y="117329"/>
                  <a:pt x="238748" y="116458"/>
                  <a:pt x="239477" y="115470"/>
                </a:cubicBezTo>
                <a:lnTo>
                  <a:pt x="258132" y="90141"/>
                </a:lnTo>
                <a:lnTo>
                  <a:pt x="265607" y="120821"/>
                </a:lnTo>
                <a:cubicBezTo>
                  <a:pt x="267190" y="127220"/>
                  <a:pt x="273652" y="131124"/>
                  <a:pt x="280081" y="129538"/>
                </a:cubicBezTo>
                <a:cubicBezTo>
                  <a:pt x="281221" y="129250"/>
                  <a:pt x="282362" y="128787"/>
                  <a:pt x="283375" y="128167"/>
                </a:cubicBezTo>
                <a:lnTo>
                  <a:pt x="310360" y="111766"/>
                </a:lnTo>
                <a:lnTo>
                  <a:pt x="305514" y="142985"/>
                </a:lnTo>
                <a:cubicBezTo>
                  <a:pt x="304564" y="149523"/>
                  <a:pt x="309061" y="155608"/>
                  <a:pt x="315618" y="156571"/>
                </a:cubicBezTo>
                <a:cubicBezTo>
                  <a:pt x="316790" y="156745"/>
                  <a:pt x="317962" y="156742"/>
                  <a:pt x="319133" y="156567"/>
                </a:cubicBezTo>
                <a:lnTo>
                  <a:pt x="350331" y="151723"/>
                </a:lnTo>
                <a:lnTo>
                  <a:pt x="333924" y="178699"/>
                </a:lnTo>
                <a:cubicBezTo>
                  <a:pt x="330504" y="184316"/>
                  <a:pt x="332277" y="191639"/>
                  <a:pt x="337915" y="195059"/>
                </a:cubicBezTo>
                <a:cubicBezTo>
                  <a:pt x="338960" y="195698"/>
                  <a:pt x="340101" y="196173"/>
                  <a:pt x="341304" y="196461"/>
                </a:cubicBezTo>
                <a:lnTo>
                  <a:pt x="371963" y="203965"/>
                </a:lnTo>
                <a:lnTo>
                  <a:pt x="346625" y="222614"/>
                </a:lnTo>
                <a:cubicBezTo>
                  <a:pt x="343585" y="224837"/>
                  <a:pt x="341779" y="228354"/>
                  <a:pt x="341748" y="232113"/>
                </a:cubicBezTo>
                <a:lnTo>
                  <a:pt x="312260" y="232113"/>
                </a:lnTo>
                <a:cubicBezTo>
                  <a:pt x="312260" y="186649"/>
                  <a:pt x="275393" y="149792"/>
                  <a:pt x="229911" y="149792"/>
                </a:cubicBezTo>
                <a:cubicBezTo>
                  <a:pt x="184430" y="149792"/>
                  <a:pt x="147563" y="186649"/>
                  <a:pt x="147563" y="232113"/>
                </a:cubicBezTo>
                <a:lnTo>
                  <a:pt x="118107" y="232113"/>
                </a:lnTo>
                <a:cubicBezTo>
                  <a:pt x="118076" y="228361"/>
                  <a:pt x="116270" y="224840"/>
                  <a:pt x="113261" y="222614"/>
                </a:cubicBezTo>
                <a:lnTo>
                  <a:pt x="87923" y="203965"/>
                </a:lnTo>
                <a:lnTo>
                  <a:pt x="118614" y="196461"/>
                </a:lnTo>
                <a:cubicBezTo>
                  <a:pt x="125012" y="194894"/>
                  <a:pt x="128907" y="188448"/>
                  <a:pt x="127355" y="182062"/>
                </a:cubicBezTo>
                <a:cubicBezTo>
                  <a:pt x="127039" y="180887"/>
                  <a:pt x="126595" y="179766"/>
                  <a:pt x="125962" y="178731"/>
                </a:cubicBezTo>
                <a:close/>
                <a:moveTo>
                  <a:pt x="292592" y="230434"/>
                </a:moveTo>
                <a:lnTo>
                  <a:pt x="167105" y="230434"/>
                </a:lnTo>
                <a:cubicBezTo>
                  <a:pt x="168213" y="195793"/>
                  <a:pt x="197194" y="168605"/>
                  <a:pt x="231843" y="169707"/>
                </a:cubicBezTo>
                <a:cubicBezTo>
                  <a:pt x="264942" y="170758"/>
                  <a:pt x="291546" y="197342"/>
                  <a:pt x="292592" y="230434"/>
                </a:cubicBezTo>
                <a:close/>
                <a:moveTo>
                  <a:pt x="436639" y="230434"/>
                </a:moveTo>
                <a:lnTo>
                  <a:pt x="368796" y="230434"/>
                </a:lnTo>
                <a:lnTo>
                  <a:pt x="396605" y="210076"/>
                </a:lnTo>
                <a:cubicBezTo>
                  <a:pt x="401926" y="206197"/>
                  <a:pt x="403066" y="198750"/>
                  <a:pt x="399201" y="193441"/>
                </a:cubicBezTo>
                <a:cubicBezTo>
                  <a:pt x="397523" y="191168"/>
                  <a:pt x="395116" y="189559"/>
                  <a:pt x="392392" y="188894"/>
                </a:cubicBezTo>
                <a:lnTo>
                  <a:pt x="355937" y="179997"/>
                </a:lnTo>
                <a:lnTo>
                  <a:pt x="375416" y="147956"/>
                </a:lnTo>
                <a:cubicBezTo>
                  <a:pt x="378836" y="142339"/>
                  <a:pt x="377031" y="135015"/>
                  <a:pt x="371425" y="131599"/>
                </a:cubicBezTo>
                <a:cubicBezTo>
                  <a:pt x="369049" y="130146"/>
                  <a:pt x="366199" y="129582"/>
                  <a:pt x="363443" y="130003"/>
                </a:cubicBezTo>
                <a:lnTo>
                  <a:pt x="326354" y="135671"/>
                </a:lnTo>
                <a:lnTo>
                  <a:pt x="332087" y="98626"/>
                </a:lnTo>
                <a:cubicBezTo>
                  <a:pt x="333101" y="92129"/>
                  <a:pt x="328635" y="86044"/>
                  <a:pt x="322142" y="85034"/>
                </a:cubicBezTo>
                <a:cubicBezTo>
                  <a:pt x="319387" y="84600"/>
                  <a:pt x="316536" y="85164"/>
                  <a:pt x="314129" y="86627"/>
                </a:cubicBezTo>
                <a:lnTo>
                  <a:pt x="282076" y="106099"/>
                </a:lnTo>
                <a:lnTo>
                  <a:pt x="273208" y="69656"/>
                </a:lnTo>
                <a:cubicBezTo>
                  <a:pt x="271624" y="63260"/>
                  <a:pt x="265131" y="59366"/>
                  <a:pt x="258733" y="60958"/>
                </a:cubicBezTo>
                <a:cubicBezTo>
                  <a:pt x="256041" y="61626"/>
                  <a:pt x="253666" y="63213"/>
                  <a:pt x="252019" y="65445"/>
                </a:cubicBezTo>
                <a:lnTo>
                  <a:pt x="229848" y="95714"/>
                </a:lnTo>
                <a:lnTo>
                  <a:pt x="207677" y="65445"/>
                </a:lnTo>
                <a:cubicBezTo>
                  <a:pt x="203750" y="60148"/>
                  <a:pt x="196275" y="59033"/>
                  <a:pt x="190986" y="62956"/>
                </a:cubicBezTo>
                <a:cubicBezTo>
                  <a:pt x="188737" y="64609"/>
                  <a:pt x="187153" y="66990"/>
                  <a:pt x="186488" y="69687"/>
                </a:cubicBezTo>
                <a:lnTo>
                  <a:pt x="177588" y="106099"/>
                </a:lnTo>
                <a:lnTo>
                  <a:pt x="145536" y="86627"/>
                </a:lnTo>
                <a:cubicBezTo>
                  <a:pt x="141608" y="84265"/>
                  <a:pt x="136667" y="84375"/>
                  <a:pt x="132867" y="86911"/>
                </a:cubicBezTo>
                <a:cubicBezTo>
                  <a:pt x="129034" y="89492"/>
                  <a:pt x="127007" y="94051"/>
                  <a:pt x="127704" y="98626"/>
                </a:cubicBezTo>
                <a:lnTo>
                  <a:pt x="133437" y="135671"/>
                </a:lnTo>
                <a:lnTo>
                  <a:pt x="96380" y="129940"/>
                </a:lnTo>
                <a:cubicBezTo>
                  <a:pt x="89887" y="128930"/>
                  <a:pt x="83806" y="133375"/>
                  <a:pt x="82792" y="139872"/>
                </a:cubicBezTo>
                <a:cubicBezTo>
                  <a:pt x="82349" y="142649"/>
                  <a:pt x="82919" y="145492"/>
                  <a:pt x="84376" y="147892"/>
                </a:cubicBezTo>
                <a:lnTo>
                  <a:pt x="103854" y="179934"/>
                </a:lnTo>
                <a:lnTo>
                  <a:pt x="67431" y="188831"/>
                </a:lnTo>
                <a:cubicBezTo>
                  <a:pt x="61033" y="190411"/>
                  <a:pt x="57106" y="196879"/>
                  <a:pt x="58689" y="203281"/>
                </a:cubicBezTo>
                <a:cubicBezTo>
                  <a:pt x="59354" y="205979"/>
                  <a:pt x="60938" y="208360"/>
                  <a:pt x="63187" y="210013"/>
                </a:cubicBezTo>
                <a:lnTo>
                  <a:pt x="91027" y="230371"/>
                </a:lnTo>
                <a:lnTo>
                  <a:pt x="19542" y="230371"/>
                </a:lnTo>
                <a:lnTo>
                  <a:pt x="19542" y="19472"/>
                </a:lnTo>
                <a:lnTo>
                  <a:pt x="436734" y="19472"/>
                </a:lnTo>
                <a:close/>
              </a:path>
            </a:pathLst>
          </a:custGeom>
          <a:solidFill>
            <a:schemeClr val="tx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0" name="Rectangle 49">
            <a:extLst>
              <a:ext uri="{FF2B5EF4-FFF2-40B4-BE49-F238E27FC236}">
                <a16:creationId xmlns:a16="http://schemas.microsoft.com/office/drawing/2014/main" id="{1E384B44-88CC-8F76-E9AF-DBDBDD24EECE}"/>
              </a:ext>
            </a:extLst>
          </p:cNvPr>
          <p:cNvSpPr/>
          <p:nvPr/>
        </p:nvSpPr>
        <p:spPr>
          <a:xfrm>
            <a:off x="442914" y="1819275"/>
            <a:ext cx="35433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Stiprs sals:</a:t>
            </a:r>
          </a:p>
        </p:txBody>
      </p:sp>
      <p:grpSp>
        <p:nvGrpSpPr>
          <p:cNvPr id="27" name="Group 26">
            <a:extLst>
              <a:ext uri="{FF2B5EF4-FFF2-40B4-BE49-F238E27FC236}">
                <a16:creationId xmlns:a16="http://schemas.microsoft.com/office/drawing/2014/main" id="{4CEAA8DB-A63F-E641-A51A-25A1596C8521}"/>
              </a:ext>
            </a:extLst>
          </p:cNvPr>
          <p:cNvGrpSpPr/>
          <p:nvPr/>
        </p:nvGrpSpPr>
        <p:grpSpPr>
          <a:xfrm>
            <a:off x="3325037" y="1819275"/>
            <a:ext cx="646888" cy="576000"/>
            <a:chOff x="5269725" y="1819275"/>
            <a:chExt cx="646888" cy="576000"/>
          </a:xfrm>
        </p:grpSpPr>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Google Shape;1004;p85">
              <a:extLst>
                <a:ext uri="{FF2B5EF4-FFF2-40B4-BE49-F238E27FC236}">
                  <a16:creationId xmlns:a16="http://schemas.microsoft.com/office/drawing/2014/main" id="{3496E54A-8571-327D-7CD3-B8C3E789BD53}"/>
                </a:ext>
              </a:extLst>
            </p:cNvPr>
            <p:cNvSpPr/>
            <p:nvPr/>
          </p:nvSpPr>
          <p:spPr>
            <a:xfrm>
              <a:off x="5448267" y="1927235"/>
              <a:ext cx="360363" cy="360363"/>
            </a:xfrm>
            <a:custGeom>
              <a:avLst/>
              <a:gdLst/>
              <a:ahLst/>
              <a:cxnLst/>
              <a:rect l="l" t="t" r="r" b="b"/>
              <a:pathLst>
                <a:path w="704" h="705" extrusionOk="0">
                  <a:moveTo>
                    <a:pt x="0" y="0"/>
                  </a:moveTo>
                  <a:lnTo>
                    <a:pt x="0" y="705"/>
                  </a:lnTo>
                  <a:lnTo>
                    <a:pt x="704" y="705"/>
                  </a:lnTo>
                  <a:lnTo>
                    <a:pt x="704" y="0"/>
                  </a:lnTo>
                  <a:lnTo>
                    <a:pt x="0" y="0"/>
                  </a:lnTo>
                  <a:close/>
                  <a:moveTo>
                    <a:pt x="673" y="674"/>
                  </a:moveTo>
                  <a:lnTo>
                    <a:pt x="31" y="674"/>
                  </a:lnTo>
                  <a:lnTo>
                    <a:pt x="31" y="29"/>
                  </a:lnTo>
                  <a:lnTo>
                    <a:pt x="673" y="29"/>
                  </a:lnTo>
                  <a:lnTo>
                    <a:pt x="673" y="674"/>
                  </a:lnTo>
                  <a:close/>
                  <a:moveTo>
                    <a:pt x="598" y="393"/>
                  </a:moveTo>
                  <a:lnTo>
                    <a:pt x="524" y="428"/>
                  </a:lnTo>
                  <a:lnTo>
                    <a:pt x="596" y="471"/>
                  </a:lnTo>
                  <a:lnTo>
                    <a:pt x="582" y="497"/>
                  </a:lnTo>
                  <a:lnTo>
                    <a:pt x="508" y="455"/>
                  </a:lnTo>
                  <a:lnTo>
                    <a:pt x="516" y="537"/>
                  </a:lnTo>
                  <a:lnTo>
                    <a:pt x="485" y="540"/>
                  </a:lnTo>
                  <a:lnTo>
                    <a:pt x="478" y="437"/>
                  </a:lnTo>
                  <a:lnTo>
                    <a:pt x="373" y="376"/>
                  </a:lnTo>
                  <a:lnTo>
                    <a:pt x="373" y="497"/>
                  </a:lnTo>
                  <a:lnTo>
                    <a:pt x="457" y="556"/>
                  </a:lnTo>
                  <a:lnTo>
                    <a:pt x="441" y="580"/>
                  </a:lnTo>
                  <a:lnTo>
                    <a:pt x="373" y="534"/>
                  </a:lnTo>
                  <a:lnTo>
                    <a:pt x="373" y="618"/>
                  </a:lnTo>
                  <a:lnTo>
                    <a:pt x="342" y="618"/>
                  </a:lnTo>
                  <a:lnTo>
                    <a:pt x="342" y="534"/>
                  </a:lnTo>
                  <a:lnTo>
                    <a:pt x="275" y="580"/>
                  </a:lnTo>
                  <a:lnTo>
                    <a:pt x="258" y="556"/>
                  </a:lnTo>
                  <a:lnTo>
                    <a:pt x="342" y="497"/>
                  </a:lnTo>
                  <a:lnTo>
                    <a:pt x="342" y="376"/>
                  </a:lnTo>
                  <a:lnTo>
                    <a:pt x="238" y="437"/>
                  </a:lnTo>
                  <a:lnTo>
                    <a:pt x="230" y="540"/>
                  </a:lnTo>
                  <a:lnTo>
                    <a:pt x="200" y="537"/>
                  </a:lnTo>
                  <a:lnTo>
                    <a:pt x="207" y="455"/>
                  </a:lnTo>
                  <a:lnTo>
                    <a:pt x="133" y="497"/>
                  </a:lnTo>
                  <a:lnTo>
                    <a:pt x="119" y="471"/>
                  </a:lnTo>
                  <a:lnTo>
                    <a:pt x="192" y="428"/>
                  </a:lnTo>
                  <a:lnTo>
                    <a:pt x="117" y="393"/>
                  </a:lnTo>
                  <a:lnTo>
                    <a:pt x="130" y="366"/>
                  </a:lnTo>
                  <a:lnTo>
                    <a:pt x="224" y="410"/>
                  </a:lnTo>
                  <a:lnTo>
                    <a:pt x="328" y="350"/>
                  </a:lnTo>
                  <a:lnTo>
                    <a:pt x="224" y="290"/>
                  </a:lnTo>
                  <a:lnTo>
                    <a:pt x="130" y="334"/>
                  </a:lnTo>
                  <a:lnTo>
                    <a:pt x="117" y="307"/>
                  </a:lnTo>
                  <a:lnTo>
                    <a:pt x="192" y="272"/>
                  </a:lnTo>
                  <a:lnTo>
                    <a:pt x="119" y="229"/>
                  </a:lnTo>
                  <a:lnTo>
                    <a:pt x="133" y="203"/>
                  </a:lnTo>
                  <a:lnTo>
                    <a:pt x="207" y="245"/>
                  </a:lnTo>
                  <a:lnTo>
                    <a:pt x="200" y="163"/>
                  </a:lnTo>
                  <a:lnTo>
                    <a:pt x="230" y="160"/>
                  </a:lnTo>
                  <a:lnTo>
                    <a:pt x="238" y="263"/>
                  </a:lnTo>
                  <a:lnTo>
                    <a:pt x="342" y="324"/>
                  </a:lnTo>
                  <a:lnTo>
                    <a:pt x="342" y="203"/>
                  </a:lnTo>
                  <a:lnTo>
                    <a:pt x="258" y="144"/>
                  </a:lnTo>
                  <a:lnTo>
                    <a:pt x="275" y="120"/>
                  </a:lnTo>
                  <a:lnTo>
                    <a:pt x="342" y="166"/>
                  </a:lnTo>
                  <a:lnTo>
                    <a:pt x="342" y="82"/>
                  </a:lnTo>
                  <a:lnTo>
                    <a:pt x="373" y="82"/>
                  </a:lnTo>
                  <a:lnTo>
                    <a:pt x="373" y="166"/>
                  </a:lnTo>
                  <a:lnTo>
                    <a:pt x="441" y="120"/>
                  </a:lnTo>
                  <a:lnTo>
                    <a:pt x="457" y="144"/>
                  </a:lnTo>
                  <a:lnTo>
                    <a:pt x="373" y="203"/>
                  </a:lnTo>
                  <a:lnTo>
                    <a:pt x="373" y="324"/>
                  </a:lnTo>
                  <a:lnTo>
                    <a:pt x="478" y="263"/>
                  </a:lnTo>
                  <a:lnTo>
                    <a:pt x="485" y="160"/>
                  </a:lnTo>
                  <a:lnTo>
                    <a:pt x="516" y="163"/>
                  </a:lnTo>
                  <a:lnTo>
                    <a:pt x="508" y="245"/>
                  </a:lnTo>
                  <a:lnTo>
                    <a:pt x="582" y="203"/>
                  </a:lnTo>
                  <a:lnTo>
                    <a:pt x="596" y="229"/>
                  </a:lnTo>
                  <a:lnTo>
                    <a:pt x="524" y="272"/>
                  </a:lnTo>
                  <a:lnTo>
                    <a:pt x="598" y="307"/>
                  </a:lnTo>
                  <a:lnTo>
                    <a:pt x="585" y="334"/>
                  </a:lnTo>
                  <a:lnTo>
                    <a:pt x="493" y="290"/>
                  </a:lnTo>
                  <a:lnTo>
                    <a:pt x="387" y="350"/>
                  </a:lnTo>
                  <a:lnTo>
                    <a:pt x="493" y="410"/>
                  </a:lnTo>
                  <a:lnTo>
                    <a:pt x="585" y="366"/>
                  </a:lnTo>
                  <a:lnTo>
                    <a:pt x="598" y="39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800">
                <a:solidFill>
                  <a:schemeClr val="dk1"/>
                </a:solidFill>
                <a:latin typeface="Arial"/>
                <a:ea typeface="Arial"/>
                <a:cs typeface="Arial"/>
                <a:sym typeface="Arial"/>
              </a:endParaRPr>
            </a:p>
          </p:txBody>
        </p: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Stiprs sals, karstums, sausums</a:t>
            </a:r>
            <a:br>
              <a:rPr lang="lv-LV"/>
            </a:br>
            <a:r>
              <a:rPr lang="lv-LV">
                <a:solidFill>
                  <a:srgbClr val="A8192D"/>
                </a:solidFill>
              </a:rPr>
              <a:t>Kā rīkoties?</a:t>
            </a:r>
            <a:endParaRPr lang="en-GB"/>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8074" y="3117356"/>
            <a:ext cx="738000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8075" y="4578256"/>
            <a:ext cx="2853999"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1108075" y="5367561"/>
            <a:ext cx="2853999"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0" name="Rectangle 69">
            <a:extLst>
              <a:ext uri="{FF2B5EF4-FFF2-40B4-BE49-F238E27FC236}">
                <a16:creationId xmlns:a16="http://schemas.microsoft.com/office/drawing/2014/main" id="{5EEF3BF7-AEB5-348C-D976-FA94F1ADC99F}"/>
              </a:ext>
            </a:extLst>
          </p:cNvPr>
          <p:cNvSpPr/>
          <p:nvPr/>
        </p:nvSpPr>
        <p:spPr>
          <a:xfrm>
            <a:off x="7842861"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Rectangle 51">
            <a:extLst>
              <a:ext uri="{FF2B5EF4-FFF2-40B4-BE49-F238E27FC236}">
                <a16:creationId xmlns:a16="http://schemas.microsoft.com/office/drawing/2014/main" id="{54140961-D367-FFB1-E0FC-3F385487D472}"/>
              </a:ext>
            </a:extLst>
          </p:cNvPr>
          <p:cNvSpPr/>
          <p:nvPr/>
        </p:nvSpPr>
        <p:spPr>
          <a:xfrm>
            <a:off x="1107654" y="2538617"/>
            <a:ext cx="7434712" cy="4937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Klausieties meteorologu brīdinājumus, sekojiet situācijas attīstībai.</a:t>
            </a:r>
          </a:p>
        </p:txBody>
      </p:sp>
      <p:sp>
        <p:nvSpPr>
          <p:cNvPr id="40" name="Rectangle 39">
            <a:extLst>
              <a:ext uri="{FF2B5EF4-FFF2-40B4-BE49-F238E27FC236}">
                <a16:creationId xmlns:a16="http://schemas.microsoft.com/office/drawing/2014/main" id="{0397F1B3-1DAC-781B-5BE5-08FA024DC19C}"/>
              </a:ext>
            </a:extLst>
          </p:cNvPr>
          <p:cNvSpPr/>
          <p:nvPr/>
        </p:nvSpPr>
        <p:spPr>
          <a:xfrm>
            <a:off x="1107654" y="3208199"/>
            <a:ext cx="7382094" cy="4937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I</a:t>
            </a:r>
            <a:r>
              <a:rPr lang="lv-LV" sz="1200" b="0" i="0">
                <a:solidFill>
                  <a:schemeClr val="tx1"/>
                </a:solidFill>
                <a:effectLst/>
              </a:rPr>
              <a:t>evērojiet dienestu, iestāžu norādījumus un ieteikumu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4" y="3878442"/>
            <a:ext cx="285442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P</a:t>
            </a:r>
            <a:r>
              <a:rPr lang="lv-LV" sz="1200" b="0" i="0">
                <a:solidFill>
                  <a:schemeClr val="tx1"/>
                </a:solidFill>
                <a:effectLst/>
              </a:rPr>
              <a:t>alieciet mājās vai uzturieties telpā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4" y="4667747"/>
            <a:ext cx="285442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Ejot ārā, saģērbieties atbilstoši laikapstākļiem (siltas un ērtas drēbes un apavi).</a:t>
            </a:r>
          </a:p>
        </p:txBody>
      </p:sp>
      <p:sp>
        <p:nvSpPr>
          <p:cNvPr id="20" name="Rectangle 19">
            <a:extLst>
              <a:ext uri="{FF2B5EF4-FFF2-40B4-BE49-F238E27FC236}">
                <a16:creationId xmlns:a16="http://schemas.microsoft.com/office/drawing/2014/main" id="{A4EAD244-3E35-CF16-9610-C9DD5B3A3D07}"/>
              </a:ext>
            </a:extLst>
          </p:cNvPr>
          <p:cNvSpPr/>
          <p:nvPr/>
        </p:nvSpPr>
        <p:spPr>
          <a:xfrm>
            <a:off x="1107654" y="5457440"/>
            <a:ext cx="2680575" cy="7143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P</a:t>
            </a:r>
            <a:r>
              <a:rPr lang="lv-LV" sz="1200" b="0" i="0">
                <a:solidFill>
                  <a:srgbClr val="212529"/>
                </a:solidFill>
                <a:effectLst/>
              </a:rPr>
              <a:t>ārvietojoties izvērtējiet maršrutu, lai pēc iespējas mazāk būtu koku, elektrības vadu un citu lietu, kas no sasaluma varētu lūzt un krist.</a:t>
            </a:r>
          </a:p>
        </p:txBody>
      </p:sp>
      <p:grpSp>
        <p:nvGrpSpPr>
          <p:cNvPr id="45" name="Group 44">
            <a:extLst>
              <a:ext uri="{FF2B5EF4-FFF2-40B4-BE49-F238E27FC236}">
                <a16:creationId xmlns:a16="http://schemas.microsoft.com/office/drawing/2014/main" id="{C0B71D80-C725-2567-7AFD-7CC6FA03448F}"/>
              </a:ext>
            </a:extLst>
          </p:cNvPr>
          <p:cNvGrpSpPr/>
          <p:nvPr/>
        </p:nvGrpSpPr>
        <p:grpSpPr>
          <a:xfrm>
            <a:off x="442913" y="2538413"/>
            <a:ext cx="576263" cy="3633787"/>
            <a:chOff x="440299" y="2538413"/>
            <a:chExt cx="576263" cy="3633787"/>
          </a:xfrm>
        </p:grpSpPr>
        <p:sp>
          <p:nvSpPr>
            <p:cNvPr id="57" name="Rectangle 56">
              <a:extLst>
                <a:ext uri="{FF2B5EF4-FFF2-40B4-BE49-F238E27FC236}">
                  <a16:creationId xmlns:a16="http://schemas.microsoft.com/office/drawing/2014/main" id="{A073C5EE-5299-ADD0-94D7-3170276FA166}"/>
                </a:ext>
              </a:extLst>
            </p:cNvPr>
            <p:cNvSpPr/>
            <p:nvPr/>
          </p:nvSpPr>
          <p:spPr>
            <a:xfrm>
              <a:off x="440299" y="2538413"/>
              <a:ext cx="576263" cy="49412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6693" y="26490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0299" y="3208199"/>
              <a:ext cx="576263" cy="4937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6693" y="33186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0299" y="387844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6693" y="404805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0299" y="4667747"/>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6693" y="483735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9" name="Rectangle 88">
              <a:extLst>
                <a:ext uri="{FF2B5EF4-FFF2-40B4-BE49-F238E27FC236}">
                  <a16:creationId xmlns:a16="http://schemas.microsoft.com/office/drawing/2014/main" id="{7AD0F22C-299C-4471-6C33-C68875EFE67F}"/>
                </a:ext>
              </a:extLst>
            </p:cNvPr>
            <p:cNvSpPr/>
            <p:nvPr/>
          </p:nvSpPr>
          <p:spPr>
            <a:xfrm>
              <a:off x="440299" y="5457054"/>
              <a:ext cx="576263" cy="71514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6693" y="567823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 name="Group 42">
            <a:extLst>
              <a:ext uri="{FF2B5EF4-FFF2-40B4-BE49-F238E27FC236}">
                <a16:creationId xmlns:a16="http://schemas.microsoft.com/office/drawing/2014/main" id="{D40D455F-7EAB-93DB-3538-03AD491F0434}"/>
              </a:ext>
            </a:extLst>
          </p:cNvPr>
          <p:cNvGrpSpPr/>
          <p:nvPr/>
        </p:nvGrpSpPr>
        <p:grpSpPr>
          <a:xfrm>
            <a:off x="4338437" y="3817650"/>
            <a:ext cx="4203929" cy="716548"/>
            <a:chOff x="4338437" y="3817650"/>
            <a:chExt cx="4203929" cy="716548"/>
          </a:xfrm>
        </p:grpSpPr>
        <p:sp>
          <p:nvSpPr>
            <p:cNvPr id="66" name="Rectangle 65">
              <a:extLst>
                <a:ext uri="{FF2B5EF4-FFF2-40B4-BE49-F238E27FC236}">
                  <a16:creationId xmlns:a16="http://schemas.microsoft.com/office/drawing/2014/main" id="{F013B6EF-6664-55FA-8A95-9B25B931D676}"/>
                </a:ext>
              </a:extLst>
            </p:cNvPr>
            <p:cNvSpPr/>
            <p:nvPr/>
          </p:nvSpPr>
          <p:spPr>
            <a:xfrm>
              <a:off x="5003799" y="3819823"/>
              <a:ext cx="3538567" cy="7143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0" rIns="0" bIns="0" rtlCol="0" anchor="ctr">
              <a:noAutofit/>
            </a:bodyPr>
            <a:lstStyle/>
            <a:p>
              <a:pPr algn="l"/>
              <a:r>
                <a:rPr lang="lv-LV" sz="1200" spc="-20">
                  <a:solidFill>
                    <a:srgbClr val="212529"/>
                  </a:solidFill>
                </a:rPr>
                <a:t>C</a:t>
              </a:r>
              <a:r>
                <a:rPr lang="lv-LV" sz="1200" b="0" i="0" spc="-20">
                  <a:solidFill>
                    <a:srgbClr val="212529"/>
                  </a:solidFill>
                  <a:effectLst/>
                </a:rPr>
                <a:t>entieties atrasties vēdinātās/atdzesētās dzīvojamās un darba telpās. Dabisko vēdināšanu (atverot logus) vislabāk veikt vakarā, naktī. Dienas laikā aizveriet un aizklājiet logus, lai samazinātu telpu sakaršanu.</a:t>
              </a:r>
            </a:p>
          </p:txBody>
        </p:sp>
        <p:sp>
          <p:nvSpPr>
            <p:cNvPr id="95" name="Rectangle 94">
              <a:extLst>
                <a:ext uri="{FF2B5EF4-FFF2-40B4-BE49-F238E27FC236}">
                  <a16:creationId xmlns:a16="http://schemas.microsoft.com/office/drawing/2014/main" id="{443FAA3C-0F7C-AD6B-CBF1-68825DEE28EF}"/>
                </a:ext>
              </a:extLst>
            </p:cNvPr>
            <p:cNvSpPr/>
            <p:nvPr/>
          </p:nvSpPr>
          <p:spPr>
            <a:xfrm>
              <a:off x="4338437" y="3817650"/>
              <a:ext cx="576263" cy="71654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4454832" y="403953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5</a:t>
            </a:fld>
            <a:endParaRPr lang="en-GB"/>
          </a:p>
        </p:txBody>
      </p:sp>
      <p:cxnSp>
        <p:nvCxnSpPr>
          <p:cNvPr id="12" name="Straight Connector 11">
            <a:extLst>
              <a:ext uri="{FF2B5EF4-FFF2-40B4-BE49-F238E27FC236}">
                <a16:creationId xmlns:a16="http://schemas.microsoft.com/office/drawing/2014/main" id="{115247EA-EE3B-31EE-8D48-4898D35A3280}"/>
              </a:ext>
            </a:extLst>
          </p:cNvPr>
          <p:cNvCxnSpPr>
            <a:cxnSpLocks/>
          </p:cNvCxnSpPr>
          <p:nvPr/>
        </p:nvCxnSpPr>
        <p:spPr>
          <a:xfrm>
            <a:off x="5003600" y="4610492"/>
            <a:ext cx="34861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DBBAF735-721D-F52F-3F37-FEC03949D8CB}"/>
              </a:ext>
            </a:extLst>
          </p:cNvPr>
          <p:cNvCxnSpPr>
            <a:cxnSpLocks/>
          </p:cNvCxnSpPr>
          <p:nvPr/>
        </p:nvCxnSpPr>
        <p:spPr>
          <a:xfrm>
            <a:off x="5003600" y="5378307"/>
            <a:ext cx="34861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36" name="Group 35">
            <a:extLst>
              <a:ext uri="{FF2B5EF4-FFF2-40B4-BE49-F238E27FC236}">
                <a16:creationId xmlns:a16="http://schemas.microsoft.com/office/drawing/2014/main" id="{E97C9AF6-EF2C-A21C-4DD3-147299422C04}"/>
              </a:ext>
            </a:extLst>
          </p:cNvPr>
          <p:cNvGrpSpPr/>
          <p:nvPr/>
        </p:nvGrpSpPr>
        <p:grpSpPr>
          <a:xfrm>
            <a:off x="4338860" y="4689238"/>
            <a:ext cx="4151090" cy="612775"/>
            <a:chOff x="4338860" y="4681088"/>
            <a:chExt cx="4151090" cy="612775"/>
          </a:xfrm>
        </p:grpSpPr>
        <p:sp>
          <p:nvSpPr>
            <p:cNvPr id="14" name="Rectangle 13">
              <a:extLst>
                <a:ext uri="{FF2B5EF4-FFF2-40B4-BE49-F238E27FC236}">
                  <a16:creationId xmlns:a16="http://schemas.microsoft.com/office/drawing/2014/main" id="{69CFE8AA-8BE2-A62E-A1B9-8B4AE9C53218}"/>
                </a:ext>
              </a:extLst>
            </p:cNvPr>
            <p:cNvSpPr/>
            <p:nvPr/>
          </p:nvSpPr>
          <p:spPr>
            <a:xfrm>
              <a:off x="5003800" y="4681088"/>
              <a:ext cx="34861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D</a:t>
              </a:r>
              <a:r>
                <a:rPr lang="lv-LV" sz="1200" b="0" i="0">
                  <a:solidFill>
                    <a:schemeClr val="tx1"/>
                  </a:solidFill>
                  <a:effectLst/>
                </a:rPr>
                <a:t>odoties ārā, velciet gaišas, vieglas, “elpojošas” drēbes. Lai nepieļautu galvas sakaršanu, lietojiet gaišu plāna auduma galvassegu.</a:t>
              </a:r>
            </a:p>
          </p:txBody>
        </p:sp>
        <p:sp>
          <p:nvSpPr>
            <p:cNvPr id="18" name="Rectangle 17">
              <a:extLst>
                <a:ext uri="{FF2B5EF4-FFF2-40B4-BE49-F238E27FC236}">
                  <a16:creationId xmlns:a16="http://schemas.microsoft.com/office/drawing/2014/main" id="{B8EA7805-296B-5D47-944C-D538156BAD89}"/>
                </a:ext>
              </a:extLst>
            </p:cNvPr>
            <p:cNvSpPr/>
            <p:nvPr/>
          </p:nvSpPr>
          <p:spPr>
            <a:xfrm>
              <a:off x="4338860" y="4681863"/>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L-Shape 18">
              <a:extLst>
                <a:ext uri="{FF2B5EF4-FFF2-40B4-BE49-F238E27FC236}">
                  <a16:creationId xmlns:a16="http://schemas.microsoft.com/office/drawing/2014/main" id="{C0C5A184-30D0-DA46-BFBE-D02A00834DD6}"/>
                </a:ext>
              </a:extLst>
            </p:cNvPr>
            <p:cNvSpPr/>
            <p:nvPr/>
          </p:nvSpPr>
          <p:spPr>
            <a:xfrm rot="13500000">
              <a:off x="4455254" y="485147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5" name="Group 34">
            <a:extLst>
              <a:ext uri="{FF2B5EF4-FFF2-40B4-BE49-F238E27FC236}">
                <a16:creationId xmlns:a16="http://schemas.microsoft.com/office/drawing/2014/main" id="{9D994D3C-0B5C-C04D-9328-A29560F062BC}"/>
              </a:ext>
            </a:extLst>
          </p:cNvPr>
          <p:cNvGrpSpPr/>
          <p:nvPr/>
        </p:nvGrpSpPr>
        <p:grpSpPr>
          <a:xfrm>
            <a:off x="4338437" y="5457054"/>
            <a:ext cx="4151513" cy="715146"/>
            <a:chOff x="4338437" y="5440363"/>
            <a:chExt cx="4151513" cy="715146"/>
          </a:xfrm>
        </p:grpSpPr>
        <p:sp>
          <p:nvSpPr>
            <p:cNvPr id="17" name="Rectangle 16">
              <a:extLst>
                <a:ext uri="{FF2B5EF4-FFF2-40B4-BE49-F238E27FC236}">
                  <a16:creationId xmlns:a16="http://schemas.microsoft.com/office/drawing/2014/main" id="{F910971B-2255-41F9-8303-8F4AF0AD11A8}"/>
                </a:ext>
              </a:extLst>
            </p:cNvPr>
            <p:cNvSpPr/>
            <p:nvPr/>
          </p:nvSpPr>
          <p:spPr>
            <a:xfrm>
              <a:off x="5003800" y="5440749"/>
              <a:ext cx="3486150" cy="7143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Uzņemiet šķidrumu vairāk nekā parasti. Nelietojiet alkoholu, stipru kafiju un tēju, jo šie dzērieni pastiprina </a:t>
              </a:r>
              <a:r>
                <a:rPr lang="lv-LV" sz="1200" b="0" i="0" err="1">
                  <a:solidFill>
                    <a:srgbClr val="212529"/>
                  </a:solidFill>
                  <a:effectLst/>
                </a:rPr>
                <a:t>dehidrāciju</a:t>
              </a:r>
              <a:r>
                <a:rPr lang="lv-LV" sz="1200" b="0" i="0">
                  <a:solidFill>
                    <a:srgbClr val="212529"/>
                  </a:solidFill>
                  <a:effectLst/>
                </a:rPr>
                <a:t> – ķermeņa atūdeņošanos.</a:t>
              </a:r>
            </a:p>
          </p:txBody>
        </p:sp>
        <p:sp>
          <p:nvSpPr>
            <p:cNvPr id="21" name="Rectangle 20">
              <a:extLst>
                <a:ext uri="{FF2B5EF4-FFF2-40B4-BE49-F238E27FC236}">
                  <a16:creationId xmlns:a16="http://schemas.microsoft.com/office/drawing/2014/main" id="{B3BACB13-7F5F-7706-5C2F-1B17B9E4C0A1}"/>
                </a:ext>
              </a:extLst>
            </p:cNvPr>
            <p:cNvSpPr/>
            <p:nvPr/>
          </p:nvSpPr>
          <p:spPr>
            <a:xfrm>
              <a:off x="4338437" y="5440363"/>
              <a:ext cx="576263" cy="71514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2" name="L-Shape 21">
              <a:extLst>
                <a:ext uri="{FF2B5EF4-FFF2-40B4-BE49-F238E27FC236}">
                  <a16:creationId xmlns:a16="http://schemas.microsoft.com/office/drawing/2014/main" id="{23636E8D-78E7-BF51-1737-96A4E2EF4240}"/>
                </a:ext>
              </a:extLst>
            </p:cNvPr>
            <p:cNvSpPr/>
            <p:nvPr/>
          </p:nvSpPr>
          <p:spPr>
            <a:xfrm rot="13500000">
              <a:off x="4455254" y="5661548"/>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33" name="Rectangle 32">
            <a:extLst>
              <a:ext uri="{FF2B5EF4-FFF2-40B4-BE49-F238E27FC236}">
                <a16:creationId xmlns:a16="http://schemas.microsoft.com/office/drawing/2014/main" id="{A9EA678B-1C92-D1EC-5EF2-97D0A4907E68}"/>
              </a:ext>
            </a:extLst>
          </p:cNvPr>
          <p:cNvSpPr/>
          <p:nvPr/>
        </p:nvSpPr>
        <p:spPr>
          <a:xfrm>
            <a:off x="9485142" y="2536298"/>
            <a:ext cx="2263943" cy="72164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N</a:t>
            </a:r>
            <a:r>
              <a:rPr lang="lv-LV" sz="1200" b="0" i="0">
                <a:solidFill>
                  <a:srgbClr val="212529"/>
                </a:solidFill>
                <a:effectLst/>
              </a:rPr>
              <a:t>ekuriniet ugunskurus un neizmetiet </a:t>
            </a:r>
            <a:r>
              <a:rPr lang="lv-LV" sz="1200" b="0" i="0" err="1">
                <a:solidFill>
                  <a:srgbClr val="212529"/>
                </a:solidFill>
                <a:effectLst/>
              </a:rPr>
              <a:t>izsmēķus</a:t>
            </a:r>
            <a:r>
              <a:rPr lang="lv-LV" sz="1200" b="0" i="0">
                <a:solidFill>
                  <a:srgbClr val="212529"/>
                </a:solidFill>
                <a:effectLst/>
              </a:rPr>
              <a:t> mežos, pļavās un citur, kur var izcelties ugunsgrēks.</a:t>
            </a:r>
          </a:p>
        </p:txBody>
      </p:sp>
      <p:grpSp>
        <p:nvGrpSpPr>
          <p:cNvPr id="39" name="Group 38">
            <a:extLst>
              <a:ext uri="{FF2B5EF4-FFF2-40B4-BE49-F238E27FC236}">
                <a16:creationId xmlns:a16="http://schemas.microsoft.com/office/drawing/2014/main" id="{EF0A4ABB-1F46-E212-1CC5-58ABC3934421}"/>
              </a:ext>
            </a:extLst>
          </p:cNvPr>
          <p:cNvGrpSpPr/>
          <p:nvPr/>
        </p:nvGrpSpPr>
        <p:grpSpPr>
          <a:xfrm>
            <a:off x="8841805" y="2537073"/>
            <a:ext cx="576263" cy="718418"/>
            <a:chOff x="4490838" y="2691060"/>
            <a:chExt cx="576263" cy="718418"/>
          </a:xfrm>
        </p:grpSpPr>
        <p:sp>
          <p:nvSpPr>
            <p:cNvPr id="37" name="Rectangle 36">
              <a:extLst>
                <a:ext uri="{FF2B5EF4-FFF2-40B4-BE49-F238E27FC236}">
                  <a16:creationId xmlns:a16="http://schemas.microsoft.com/office/drawing/2014/main" id="{7795EDCD-A1E3-81BC-D6E4-B8FD957AD217}"/>
                </a:ext>
              </a:extLst>
            </p:cNvPr>
            <p:cNvSpPr/>
            <p:nvPr/>
          </p:nvSpPr>
          <p:spPr>
            <a:xfrm>
              <a:off x="4490838" y="2691060"/>
              <a:ext cx="576263" cy="71841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8" name="L-Shape 37">
              <a:extLst>
                <a:ext uri="{FF2B5EF4-FFF2-40B4-BE49-F238E27FC236}">
                  <a16:creationId xmlns:a16="http://schemas.microsoft.com/office/drawing/2014/main" id="{B7F4C205-C186-DA71-F54C-8E2254F0C2E9}"/>
                </a:ext>
              </a:extLst>
            </p:cNvPr>
            <p:cNvSpPr/>
            <p:nvPr/>
          </p:nvSpPr>
          <p:spPr>
            <a:xfrm rot="13500000">
              <a:off x="4607232" y="291147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6" name="Rectangle 45">
            <a:extLst>
              <a:ext uri="{FF2B5EF4-FFF2-40B4-BE49-F238E27FC236}">
                <a16:creationId xmlns:a16="http://schemas.microsoft.com/office/drawing/2014/main" id="{7B585CBE-1C0D-4030-F280-A151893364AB}"/>
              </a:ext>
            </a:extLst>
          </p:cNvPr>
          <p:cNvSpPr/>
          <p:nvPr/>
        </p:nvSpPr>
        <p:spPr>
          <a:xfrm>
            <a:off x="11105466" y="1815438"/>
            <a:ext cx="72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48" name="Picture 47">
            <a:extLst>
              <a:ext uri="{FF2B5EF4-FFF2-40B4-BE49-F238E27FC236}">
                <a16:creationId xmlns:a16="http://schemas.microsoft.com/office/drawing/2014/main" id="{D0D5CD67-37F4-6905-E498-EC207DE06ED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839358" y="3413188"/>
            <a:ext cx="2907116" cy="2759012"/>
          </a:xfrm>
          <a:prstGeom prst="rect">
            <a:avLst/>
          </a:prstGeom>
        </p:spPr>
      </p:pic>
      <p:grpSp>
        <p:nvGrpSpPr>
          <p:cNvPr id="3" name="Group 2">
            <a:extLst>
              <a:ext uri="{FF2B5EF4-FFF2-40B4-BE49-F238E27FC236}">
                <a16:creationId xmlns:a16="http://schemas.microsoft.com/office/drawing/2014/main" id="{AC1351A7-3ACA-83A0-864D-50249B278732}"/>
              </a:ext>
            </a:extLst>
          </p:cNvPr>
          <p:cNvGrpSpPr/>
          <p:nvPr/>
        </p:nvGrpSpPr>
        <p:grpSpPr>
          <a:xfrm>
            <a:off x="9190780" y="159786"/>
            <a:ext cx="2558308" cy="217488"/>
            <a:chOff x="9190780" y="159786"/>
            <a:chExt cx="2558308" cy="217488"/>
          </a:xfrm>
        </p:grpSpPr>
        <p:sp>
          <p:nvSpPr>
            <p:cNvPr id="4" name="Rectangle 3">
              <a:extLst>
                <a:ext uri="{FF2B5EF4-FFF2-40B4-BE49-F238E27FC236}">
                  <a16:creationId xmlns:a16="http://schemas.microsoft.com/office/drawing/2014/main" id="{7B7C4437-4BC2-2688-C467-6B98CBCAA374}"/>
                </a:ext>
              </a:extLst>
            </p:cNvPr>
            <p:cNvSpPr/>
            <p:nvPr/>
          </p:nvSpPr>
          <p:spPr>
            <a:xfrm>
              <a:off x="9432606" y="159786"/>
              <a:ext cx="1833251"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64FBA33D-8261-B705-F3FB-3EB87ADE8B16}"/>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8E245D98-612A-FD7D-63D2-05D806F9DA7A}"/>
                </a:ext>
              </a:extLst>
            </p:cNvPr>
            <p:cNvSpPr/>
            <p:nvPr/>
          </p:nvSpPr>
          <p:spPr>
            <a:xfrm>
              <a:off x="919078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388913F8-B251-19F2-0AC0-7850093A044A}"/>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cxnSp>
        <p:nvCxnSpPr>
          <p:cNvPr id="11" name="Straight Connector 10">
            <a:extLst>
              <a:ext uri="{FF2B5EF4-FFF2-40B4-BE49-F238E27FC236}">
                <a16:creationId xmlns:a16="http://schemas.microsoft.com/office/drawing/2014/main" id="{FE8B05FD-24B9-49EF-51D7-BF27C35B3679}"/>
              </a:ext>
            </a:extLst>
          </p:cNvPr>
          <p:cNvCxnSpPr>
            <a:cxnSpLocks/>
          </p:cNvCxnSpPr>
          <p:nvPr/>
        </p:nvCxnSpPr>
        <p:spPr>
          <a:xfrm>
            <a:off x="1108074" y="3763339"/>
            <a:ext cx="2853999"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55F794B-7498-CA33-45EE-BB871BBF80F3}"/>
              </a:ext>
            </a:extLst>
          </p:cNvPr>
          <p:cNvCxnSpPr>
            <a:cxnSpLocks/>
          </p:cNvCxnSpPr>
          <p:nvPr/>
        </p:nvCxnSpPr>
        <p:spPr>
          <a:xfrm>
            <a:off x="5002740" y="3763339"/>
            <a:ext cx="3488999"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28118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3748B94F-D3E5-14F9-55EC-1C4429A63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23" name="think-cell data - do not delete" hidden="1">
                        <a:extLst>
                          <a:ext uri="{FF2B5EF4-FFF2-40B4-BE49-F238E27FC236}">
                            <a16:creationId xmlns:a16="http://schemas.microsoft.com/office/drawing/2014/main" id="{3748B94F-D3E5-14F9-55EC-1C4429A63C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1E384B44-88CC-8F76-E9AF-DBDBDD24EECE}"/>
              </a:ext>
            </a:extLst>
          </p:cNvPr>
          <p:cNvSpPr/>
          <p:nvPr/>
        </p:nvSpPr>
        <p:spPr>
          <a:xfrm>
            <a:off x="442913" y="1819275"/>
            <a:ext cx="482681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Spēcīga snigšana un putenis:</a:t>
            </a:r>
          </a:p>
        </p:txBody>
      </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Google Shape;1004;p85">
            <a:extLst>
              <a:ext uri="{FF2B5EF4-FFF2-40B4-BE49-F238E27FC236}">
                <a16:creationId xmlns:a16="http://schemas.microsoft.com/office/drawing/2014/main" id="{3496E54A-8571-327D-7CD3-B8C3E789BD53}"/>
              </a:ext>
            </a:extLst>
          </p:cNvPr>
          <p:cNvSpPr/>
          <p:nvPr/>
        </p:nvSpPr>
        <p:spPr>
          <a:xfrm>
            <a:off x="5448267" y="1927235"/>
            <a:ext cx="360363" cy="360363"/>
          </a:xfrm>
          <a:custGeom>
            <a:avLst/>
            <a:gdLst/>
            <a:ahLst/>
            <a:cxnLst/>
            <a:rect l="l" t="t" r="r" b="b"/>
            <a:pathLst>
              <a:path w="704" h="705" extrusionOk="0">
                <a:moveTo>
                  <a:pt x="0" y="0"/>
                </a:moveTo>
                <a:lnTo>
                  <a:pt x="0" y="705"/>
                </a:lnTo>
                <a:lnTo>
                  <a:pt x="704" y="705"/>
                </a:lnTo>
                <a:lnTo>
                  <a:pt x="704" y="0"/>
                </a:lnTo>
                <a:lnTo>
                  <a:pt x="0" y="0"/>
                </a:lnTo>
                <a:close/>
                <a:moveTo>
                  <a:pt x="673" y="674"/>
                </a:moveTo>
                <a:lnTo>
                  <a:pt x="31" y="674"/>
                </a:lnTo>
                <a:lnTo>
                  <a:pt x="31" y="29"/>
                </a:lnTo>
                <a:lnTo>
                  <a:pt x="673" y="29"/>
                </a:lnTo>
                <a:lnTo>
                  <a:pt x="673" y="674"/>
                </a:lnTo>
                <a:close/>
                <a:moveTo>
                  <a:pt x="598" y="393"/>
                </a:moveTo>
                <a:lnTo>
                  <a:pt x="524" y="428"/>
                </a:lnTo>
                <a:lnTo>
                  <a:pt x="596" y="471"/>
                </a:lnTo>
                <a:lnTo>
                  <a:pt x="582" y="497"/>
                </a:lnTo>
                <a:lnTo>
                  <a:pt x="508" y="455"/>
                </a:lnTo>
                <a:lnTo>
                  <a:pt x="516" y="537"/>
                </a:lnTo>
                <a:lnTo>
                  <a:pt x="485" y="540"/>
                </a:lnTo>
                <a:lnTo>
                  <a:pt x="478" y="437"/>
                </a:lnTo>
                <a:lnTo>
                  <a:pt x="373" y="376"/>
                </a:lnTo>
                <a:lnTo>
                  <a:pt x="373" y="497"/>
                </a:lnTo>
                <a:lnTo>
                  <a:pt x="457" y="556"/>
                </a:lnTo>
                <a:lnTo>
                  <a:pt x="441" y="580"/>
                </a:lnTo>
                <a:lnTo>
                  <a:pt x="373" y="534"/>
                </a:lnTo>
                <a:lnTo>
                  <a:pt x="373" y="618"/>
                </a:lnTo>
                <a:lnTo>
                  <a:pt x="342" y="618"/>
                </a:lnTo>
                <a:lnTo>
                  <a:pt x="342" y="534"/>
                </a:lnTo>
                <a:lnTo>
                  <a:pt x="275" y="580"/>
                </a:lnTo>
                <a:lnTo>
                  <a:pt x="258" y="556"/>
                </a:lnTo>
                <a:lnTo>
                  <a:pt x="342" y="497"/>
                </a:lnTo>
                <a:lnTo>
                  <a:pt x="342" y="376"/>
                </a:lnTo>
                <a:lnTo>
                  <a:pt x="238" y="437"/>
                </a:lnTo>
                <a:lnTo>
                  <a:pt x="230" y="540"/>
                </a:lnTo>
                <a:lnTo>
                  <a:pt x="200" y="537"/>
                </a:lnTo>
                <a:lnTo>
                  <a:pt x="207" y="455"/>
                </a:lnTo>
                <a:lnTo>
                  <a:pt x="133" y="497"/>
                </a:lnTo>
                <a:lnTo>
                  <a:pt x="119" y="471"/>
                </a:lnTo>
                <a:lnTo>
                  <a:pt x="192" y="428"/>
                </a:lnTo>
                <a:lnTo>
                  <a:pt x="117" y="393"/>
                </a:lnTo>
                <a:lnTo>
                  <a:pt x="130" y="366"/>
                </a:lnTo>
                <a:lnTo>
                  <a:pt x="224" y="410"/>
                </a:lnTo>
                <a:lnTo>
                  <a:pt x="328" y="350"/>
                </a:lnTo>
                <a:lnTo>
                  <a:pt x="224" y="290"/>
                </a:lnTo>
                <a:lnTo>
                  <a:pt x="130" y="334"/>
                </a:lnTo>
                <a:lnTo>
                  <a:pt x="117" y="307"/>
                </a:lnTo>
                <a:lnTo>
                  <a:pt x="192" y="272"/>
                </a:lnTo>
                <a:lnTo>
                  <a:pt x="119" y="229"/>
                </a:lnTo>
                <a:lnTo>
                  <a:pt x="133" y="203"/>
                </a:lnTo>
                <a:lnTo>
                  <a:pt x="207" y="245"/>
                </a:lnTo>
                <a:lnTo>
                  <a:pt x="200" y="163"/>
                </a:lnTo>
                <a:lnTo>
                  <a:pt x="230" y="160"/>
                </a:lnTo>
                <a:lnTo>
                  <a:pt x="238" y="263"/>
                </a:lnTo>
                <a:lnTo>
                  <a:pt x="342" y="324"/>
                </a:lnTo>
                <a:lnTo>
                  <a:pt x="342" y="203"/>
                </a:lnTo>
                <a:lnTo>
                  <a:pt x="258" y="144"/>
                </a:lnTo>
                <a:lnTo>
                  <a:pt x="275" y="120"/>
                </a:lnTo>
                <a:lnTo>
                  <a:pt x="342" y="166"/>
                </a:lnTo>
                <a:lnTo>
                  <a:pt x="342" y="82"/>
                </a:lnTo>
                <a:lnTo>
                  <a:pt x="373" y="82"/>
                </a:lnTo>
                <a:lnTo>
                  <a:pt x="373" y="166"/>
                </a:lnTo>
                <a:lnTo>
                  <a:pt x="441" y="120"/>
                </a:lnTo>
                <a:lnTo>
                  <a:pt x="457" y="144"/>
                </a:lnTo>
                <a:lnTo>
                  <a:pt x="373" y="203"/>
                </a:lnTo>
                <a:lnTo>
                  <a:pt x="373" y="324"/>
                </a:lnTo>
                <a:lnTo>
                  <a:pt x="478" y="263"/>
                </a:lnTo>
                <a:lnTo>
                  <a:pt x="485" y="160"/>
                </a:lnTo>
                <a:lnTo>
                  <a:pt x="516" y="163"/>
                </a:lnTo>
                <a:lnTo>
                  <a:pt x="508" y="245"/>
                </a:lnTo>
                <a:lnTo>
                  <a:pt x="582" y="203"/>
                </a:lnTo>
                <a:lnTo>
                  <a:pt x="596" y="229"/>
                </a:lnTo>
                <a:lnTo>
                  <a:pt x="524" y="272"/>
                </a:lnTo>
                <a:lnTo>
                  <a:pt x="598" y="307"/>
                </a:lnTo>
                <a:lnTo>
                  <a:pt x="585" y="334"/>
                </a:lnTo>
                <a:lnTo>
                  <a:pt x="493" y="290"/>
                </a:lnTo>
                <a:lnTo>
                  <a:pt x="387" y="350"/>
                </a:lnTo>
                <a:lnTo>
                  <a:pt x="493" y="410"/>
                </a:lnTo>
                <a:lnTo>
                  <a:pt x="585" y="366"/>
                </a:lnTo>
                <a:lnTo>
                  <a:pt x="598" y="39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GB" sz="1800">
              <a:solidFill>
                <a:schemeClr val="dk1"/>
              </a:solidFill>
              <a:latin typeface="Arial"/>
              <a:ea typeface="Arial"/>
              <a:cs typeface="Arial"/>
              <a:sym typeface="Arial"/>
            </a:endParaRPr>
          </a:p>
        </p:txBody>
      </p:sp>
      <p:sp>
        <p:nvSpPr>
          <p:cNvPr id="68" name="Rectangle 67">
            <a:extLst>
              <a:ext uri="{FF2B5EF4-FFF2-40B4-BE49-F238E27FC236}">
                <a16:creationId xmlns:a16="http://schemas.microsoft.com/office/drawing/2014/main" id="{DC58C25F-8110-0C29-4A50-5DADA78B621C}"/>
              </a:ext>
            </a:extLst>
          </p:cNvPr>
          <p:cNvSpPr/>
          <p:nvPr/>
        </p:nvSpPr>
        <p:spPr>
          <a:xfrm>
            <a:off x="6275388" y="1819275"/>
            <a:ext cx="48268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a:t>Stiprs </a:t>
            </a:r>
            <a:r>
              <a:rPr lang="es-ES" sz="1600" b="1" err="1"/>
              <a:t>apledojums</a:t>
            </a:r>
            <a:r>
              <a:rPr lang="es-ES" sz="1600" b="1"/>
              <a:t>:</a:t>
            </a:r>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Google Shape;1001;p85">
            <a:extLst>
              <a:ext uri="{FF2B5EF4-FFF2-40B4-BE49-F238E27FC236}">
                <a16:creationId xmlns:a16="http://schemas.microsoft.com/office/drawing/2014/main" id="{60395BC7-8D15-A171-C2BB-1060F2641A92}"/>
              </a:ext>
            </a:extLst>
          </p:cNvPr>
          <p:cNvSpPr/>
          <p:nvPr/>
        </p:nvSpPr>
        <p:spPr>
          <a:xfrm>
            <a:off x="11280725" y="1927275"/>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388" y="381"/>
                </a:moveTo>
                <a:cubicBezTo>
                  <a:pt x="409" y="393"/>
                  <a:pt x="409" y="393"/>
                  <a:pt x="409" y="393"/>
                </a:cubicBezTo>
                <a:cubicBezTo>
                  <a:pt x="385" y="437"/>
                  <a:pt x="385" y="437"/>
                  <a:pt x="385" y="437"/>
                </a:cubicBezTo>
                <a:cubicBezTo>
                  <a:pt x="363" y="425"/>
                  <a:pt x="363" y="425"/>
                  <a:pt x="363" y="425"/>
                </a:cubicBezTo>
                <a:lnTo>
                  <a:pt x="388" y="381"/>
                </a:lnTo>
                <a:close/>
                <a:moveTo>
                  <a:pt x="380" y="352"/>
                </a:moveTo>
                <a:cubicBezTo>
                  <a:pt x="356" y="396"/>
                  <a:pt x="356" y="396"/>
                  <a:pt x="356" y="396"/>
                </a:cubicBezTo>
                <a:cubicBezTo>
                  <a:pt x="334" y="384"/>
                  <a:pt x="334" y="384"/>
                  <a:pt x="334" y="384"/>
                </a:cubicBezTo>
                <a:cubicBezTo>
                  <a:pt x="359" y="340"/>
                  <a:pt x="359" y="340"/>
                  <a:pt x="359" y="340"/>
                </a:cubicBezTo>
                <a:lnTo>
                  <a:pt x="380" y="352"/>
                </a:lnTo>
                <a:close/>
                <a:moveTo>
                  <a:pt x="436" y="340"/>
                </a:moveTo>
                <a:cubicBezTo>
                  <a:pt x="457" y="352"/>
                  <a:pt x="457" y="352"/>
                  <a:pt x="457" y="352"/>
                </a:cubicBezTo>
                <a:cubicBezTo>
                  <a:pt x="433" y="396"/>
                  <a:pt x="433" y="396"/>
                  <a:pt x="433" y="396"/>
                </a:cubicBezTo>
                <a:cubicBezTo>
                  <a:pt x="411" y="384"/>
                  <a:pt x="411" y="384"/>
                  <a:pt x="411" y="384"/>
                </a:cubicBezTo>
                <a:lnTo>
                  <a:pt x="436" y="340"/>
                </a:lnTo>
                <a:close/>
                <a:moveTo>
                  <a:pt x="170" y="381"/>
                </a:moveTo>
                <a:cubicBezTo>
                  <a:pt x="192" y="393"/>
                  <a:pt x="192" y="393"/>
                  <a:pt x="192" y="393"/>
                </a:cubicBezTo>
                <a:cubicBezTo>
                  <a:pt x="167" y="437"/>
                  <a:pt x="167" y="437"/>
                  <a:pt x="167" y="437"/>
                </a:cubicBezTo>
                <a:cubicBezTo>
                  <a:pt x="146" y="425"/>
                  <a:pt x="146" y="425"/>
                  <a:pt x="146" y="425"/>
                </a:cubicBezTo>
                <a:lnTo>
                  <a:pt x="170" y="381"/>
                </a:lnTo>
                <a:close/>
                <a:moveTo>
                  <a:pt x="163" y="352"/>
                </a:moveTo>
                <a:cubicBezTo>
                  <a:pt x="139" y="396"/>
                  <a:pt x="139" y="396"/>
                  <a:pt x="139" y="396"/>
                </a:cubicBezTo>
                <a:cubicBezTo>
                  <a:pt x="117" y="384"/>
                  <a:pt x="117" y="384"/>
                  <a:pt x="117" y="384"/>
                </a:cubicBezTo>
                <a:cubicBezTo>
                  <a:pt x="141" y="340"/>
                  <a:pt x="141" y="340"/>
                  <a:pt x="141" y="340"/>
                </a:cubicBezTo>
                <a:lnTo>
                  <a:pt x="163" y="352"/>
                </a:lnTo>
                <a:close/>
                <a:moveTo>
                  <a:pt x="159" y="324"/>
                </a:moveTo>
                <a:cubicBezTo>
                  <a:pt x="199" y="324"/>
                  <a:pt x="199" y="324"/>
                  <a:pt x="199" y="324"/>
                </a:cubicBezTo>
                <a:cubicBezTo>
                  <a:pt x="174" y="369"/>
                  <a:pt x="174" y="369"/>
                  <a:pt x="174" y="369"/>
                </a:cubicBezTo>
                <a:cubicBezTo>
                  <a:pt x="243" y="369"/>
                  <a:pt x="243" y="369"/>
                  <a:pt x="243" y="369"/>
                </a:cubicBezTo>
                <a:cubicBezTo>
                  <a:pt x="204" y="507"/>
                  <a:pt x="204" y="507"/>
                  <a:pt x="204" y="507"/>
                </a:cubicBezTo>
                <a:cubicBezTo>
                  <a:pt x="355" y="324"/>
                  <a:pt x="355" y="324"/>
                  <a:pt x="355" y="324"/>
                </a:cubicBezTo>
                <a:cubicBezTo>
                  <a:pt x="433" y="324"/>
                  <a:pt x="433" y="324"/>
                  <a:pt x="433" y="324"/>
                </a:cubicBezTo>
                <a:cubicBezTo>
                  <a:pt x="469" y="324"/>
                  <a:pt x="499" y="294"/>
                  <a:pt x="499" y="258"/>
                </a:cubicBezTo>
                <a:cubicBezTo>
                  <a:pt x="499" y="227"/>
                  <a:pt x="477" y="200"/>
                  <a:pt x="448" y="193"/>
                </a:cubicBezTo>
                <a:cubicBezTo>
                  <a:pt x="449" y="192"/>
                  <a:pt x="449" y="190"/>
                  <a:pt x="449" y="189"/>
                </a:cubicBezTo>
                <a:cubicBezTo>
                  <a:pt x="449" y="158"/>
                  <a:pt x="423" y="132"/>
                  <a:pt x="392" y="132"/>
                </a:cubicBezTo>
                <a:cubicBezTo>
                  <a:pt x="383" y="132"/>
                  <a:pt x="373" y="135"/>
                  <a:pt x="365" y="139"/>
                </a:cubicBezTo>
                <a:cubicBezTo>
                  <a:pt x="344" y="106"/>
                  <a:pt x="307" y="86"/>
                  <a:pt x="267" y="86"/>
                </a:cubicBezTo>
                <a:cubicBezTo>
                  <a:pt x="217" y="86"/>
                  <a:pt x="173" y="118"/>
                  <a:pt x="157" y="164"/>
                </a:cubicBezTo>
                <a:cubicBezTo>
                  <a:pt x="113" y="165"/>
                  <a:pt x="79" y="200"/>
                  <a:pt x="79" y="244"/>
                </a:cubicBezTo>
                <a:cubicBezTo>
                  <a:pt x="79" y="288"/>
                  <a:pt x="115" y="324"/>
                  <a:pt x="159" y="324"/>
                </a:cubicBezTo>
                <a:close/>
                <a:moveTo>
                  <a:pt x="260" y="401"/>
                </a:moveTo>
                <a:cubicBezTo>
                  <a:pt x="276" y="344"/>
                  <a:pt x="276" y="344"/>
                  <a:pt x="276" y="344"/>
                </a:cubicBezTo>
                <a:cubicBezTo>
                  <a:pt x="216" y="344"/>
                  <a:pt x="216" y="344"/>
                  <a:pt x="216" y="344"/>
                </a:cubicBezTo>
                <a:cubicBezTo>
                  <a:pt x="272" y="243"/>
                  <a:pt x="272" y="243"/>
                  <a:pt x="272" y="243"/>
                </a:cubicBezTo>
                <a:cubicBezTo>
                  <a:pt x="335" y="243"/>
                  <a:pt x="335" y="243"/>
                  <a:pt x="335" y="243"/>
                </a:cubicBezTo>
                <a:cubicBezTo>
                  <a:pt x="289" y="324"/>
                  <a:pt x="289" y="324"/>
                  <a:pt x="289" y="324"/>
                </a:cubicBezTo>
                <a:cubicBezTo>
                  <a:pt x="323" y="324"/>
                  <a:pt x="323" y="324"/>
                  <a:pt x="323" y="324"/>
                </a:cubicBezTo>
                <a:lnTo>
                  <a:pt x="260" y="401"/>
                </a:lnTo>
                <a:close/>
                <a:moveTo>
                  <a:pt x="159" y="188"/>
                </a:moveTo>
                <a:cubicBezTo>
                  <a:pt x="161" y="188"/>
                  <a:pt x="162" y="188"/>
                  <a:pt x="164" y="189"/>
                </a:cubicBezTo>
                <a:cubicBezTo>
                  <a:pt x="175" y="190"/>
                  <a:pt x="175" y="190"/>
                  <a:pt x="175" y="190"/>
                </a:cubicBezTo>
                <a:cubicBezTo>
                  <a:pt x="177" y="180"/>
                  <a:pt x="177" y="180"/>
                  <a:pt x="177" y="180"/>
                </a:cubicBezTo>
                <a:cubicBezTo>
                  <a:pt x="188" y="139"/>
                  <a:pt x="225" y="111"/>
                  <a:pt x="267" y="111"/>
                </a:cubicBezTo>
                <a:cubicBezTo>
                  <a:pt x="303" y="111"/>
                  <a:pt x="334" y="131"/>
                  <a:pt x="350" y="163"/>
                </a:cubicBezTo>
                <a:cubicBezTo>
                  <a:pt x="358" y="178"/>
                  <a:pt x="358" y="178"/>
                  <a:pt x="358" y="178"/>
                </a:cubicBezTo>
                <a:cubicBezTo>
                  <a:pt x="370" y="166"/>
                  <a:pt x="370" y="166"/>
                  <a:pt x="370" y="166"/>
                </a:cubicBezTo>
                <a:cubicBezTo>
                  <a:pt x="376" y="160"/>
                  <a:pt x="384" y="157"/>
                  <a:pt x="392" y="157"/>
                </a:cubicBezTo>
                <a:cubicBezTo>
                  <a:pt x="410" y="157"/>
                  <a:pt x="424" y="171"/>
                  <a:pt x="424" y="189"/>
                </a:cubicBezTo>
                <a:cubicBezTo>
                  <a:pt x="424" y="192"/>
                  <a:pt x="423" y="196"/>
                  <a:pt x="422" y="199"/>
                </a:cubicBezTo>
                <a:cubicBezTo>
                  <a:pt x="416" y="216"/>
                  <a:pt x="416" y="216"/>
                  <a:pt x="416" y="216"/>
                </a:cubicBezTo>
                <a:cubicBezTo>
                  <a:pt x="433" y="216"/>
                  <a:pt x="433" y="216"/>
                  <a:pt x="433" y="216"/>
                </a:cubicBezTo>
                <a:cubicBezTo>
                  <a:pt x="456" y="216"/>
                  <a:pt x="475" y="235"/>
                  <a:pt x="475" y="258"/>
                </a:cubicBezTo>
                <a:cubicBezTo>
                  <a:pt x="475" y="281"/>
                  <a:pt x="456" y="299"/>
                  <a:pt x="433" y="299"/>
                </a:cubicBezTo>
                <a:cubicBezTo>
                  <a:pt x="375" y="299"/>
                  <a:pt x="375" y="299"/>
                  <a:pt x="375" y="299"/>
                </a:cubicBezTo>
                <a:cubicBezTo>
                  <a:pt x="376" y="299"/>
                  <a:pt x="376" y="299"/>
                  <a:pt x="376" y="299"/>
                </a:cubicBezTo>
                <a:cubicBezTo>
                  <a:pt x="331" y="299"/>
                  <a:pt x="331" y="299"/>
                  <a:pt x="331" y="299"/>
                </a:cubicBezTo>
                <a:cubicBezTo>
                  <a:pt x="377" y="218"/>
                  <a:pt x="377" y="218"/>
                  <a:pt x="377" y="218"/>
                </a:cubicBezTo>
                <a:cubicBezTo>
                  <a:pt x="257" y="218"/>
                  <a:pt x="257" y="218"/>
                  <a:pt x="257" y="218"/>
                </a:cubicBezTo>
                <a:cubicBezTo>
                  <a:pt x="212" y="299"/>
                  <a:pt x="212" y="299"/>
                  <a:pt x="212" y="299"/>
                </a:cubicBezTo>
                <a:cubicBezTo>
                  <a:pt x="159" y="299"/>
                  <a:pt x="159" y="299"/>
                  <a:pt x="159" y="299"/>
                </a:cubicBezTo>
                <a:cubicBezTo>
                  <a:pt x="128" y="299"/>
                  <a:pt x="103" y="274"/>
                  <a:pt x="103" y="244"/>
                </a:cubicBezTo>
                <a:cubicBezTo>
                  <a:pt x="103" y="213"/>
                  <a:pt x="128" y="188"/>
                  <a:pt x="159"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660"/>
            <a:ext cx="10641434"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dirty="0">
                <a:solidFill>
                  <a:schemeClr val="tx1"/>
                </a:solidFill>
                <a:effectLst/>
              </a:rPr>
              <a:t>Klausieties meteorologu brīdinājumus, sekojiet situācijas attīstībai.</a:t>
            </a:r>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221142"/>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Sniegs un putenis, apledojums un slapja sniega nogulums</a:t>
            </a:r>
            <a:br>
              <a:rPr lang="lv-LV"/>
            </a:br>
            <a:r>
              <a:rPr lang="lv-LV">
                <a:solidFill>
                  <a:srgbClr val="A8192D"/>
                </a:solidFill>
              </a:rPr>
              <a:t>Kā rīkoties?</a:t>
            </a:r>
            <a:endParaRPr lang="en-GB"/>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3979961"/>
            <a:ext cx="10641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7653" y="473107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1107653" y="548726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1" name="Rectangle 40">
            <a:extLst>
              <a:ext uri="{FF2B5EF4-FFF2-40B4-BE49-F238E27FC236}">
                <a16:creationId xmlns:a16="http://schemas.microsoft.com/office/drawing/2014/main" id="{66A14158-E11A-E312-8696-ADD9D0E04629}"/>
              </a:ext>
            </a:extLst>
          </p:cNvPr>
          <p:cNvSpPr/>
          <p:nvPr/>
        </p:nvSpPr>
        <p:spPr>
          <a:xfrm>
            <a:off x="1107653" y="4047815"/>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dirty="0">
                <a:solidFill>
                  <a:schemeClr val="tx1"/>
                </a:solidFill>
              </a:rPr>
              <a:t>I</a:t>
            </a:r>
            <a:r>
              <a:rPr lang="lv-LV" sz="1400" b="0" i="0" dirty="0">
                <a:solidFill>
                  <a:schemeClr val="tx1"/>
                </a:solidFill>
                <a:effectLst/>
              </a:rPr>
              <a:t>evērojiet dienestu, iestāžu norādījumus un ieteikumu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3" y="4804006"/>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atrodieties ārā, meklējiet, kur patverties (ēkā).</a:t>
            </a: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5808630" y="3221142"/>
            <a:ext cx="5940458" cy="263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5" name="Rectangle 64">
            <a:extLst>
              <a:ext uri="{FF2B5EF4-FFF2-40B4-BE49-F238E27FC236}">
                <a16:creationId xmlns:a16="http://schemas.microsoft.com/office/drawing/2014/main" id="{6C9963BA-CB30-1A9A-495C-AC7D92B42F6A}"/>
              </a:ext>
            </a:extLst>
          </p:cNvPr>
          <p:cNvSpPr/>
          <p:nvPr/>
        </p:nvSpPr>
        <p:spPr>
          <a:xfrm>
            <a:off x="1107653" y="3293920"/>
            <a:ext cx="10641435"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dirty="0">
                <a:solidFill>
                  <a:schemeClr val="tx1"/>
                </a:solidFill>
              </a:rPr>
              <a:t>J</a:t>
            </a:r>
            <a:r>
              <a:rPr lang="lv-LV" sz="1400" b="0" i="0" dirty="0">
                <a:solidFill>
                  <a:schemeClr val="tx1"/>
                </a:solidFill>
                <a:effectLst/>
              </a:rPr>
              <a:t>a ir iespējams, palieciet vai uzturieties telpās.</a:t>
            </a:r>
          </a:p>
        </p:txBody>
      </p:sp>
      <p:sp>
        <p:nvSpPr>
          <p:cNvPr id="66" name="Rectangle 65">
            <a:extLst>
              <a:ext uri="{FF2B5EF4-FFF2-40B4-BE49-F238E27FC236}">
                <a16:creationId xmlns:a16="http://schemas.microsoft.com/office/drawing/2014/main" id="{F013B6EF-6664-55FA-8A95-9B25B931D676}"/>
              </a:ext>
            </a:extLst>
          </p:cNvPr>
          <p:cNvSpPr/>
          <p:nvPr/>
        </p:nvSpPr>
        <p:spPr>
          <a:xfrm>
            <a:off x="6940550" y="4049428"/>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J</a:t>
            </a:r>
            <a:r>
              <a:rPr lang="lv-LV" sz="1400" b="0" i="0">
                <a:solidFill>
                  <a:srgbClr val="212529"/>
                </a:solidFill>
                <a:effectLst/>
              </a:rPr>
              <a:t>a atrodieties ārā, pārvietojieties lēni un prātīgi.</a:t>
            </a:r>
          </a:p>
        </p:txBody>
      </p:sp>
      <p:sp>
        <p:nvSpPr>
          <p:cNvPr id="20" name="Rectangle 19">
            <a:extLst>
              <a:ext uri="{FF2B5EF4-FFF2-40B4-BE49-F238E27FC236}">
                <a16:creationId xmlns:a16="http://schemas.microsoft.com/office/drawing/2014/main" id="{A4EAD244-3E35-CF16-9610-C9DD5B3A3D07}"/>
              </a:ext>
            </a:extLst>
          </p:cNvPr>
          <p:cNvSpPr/>
          <p:nvPr/>
        </p:nvSpPr>
        <p:spPr>
          <a:xfrm>
            <a:off x="1107653" y="5560198"/>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I</a:t>
            </a:r>
            <a:r>
              <a:rPr lang="lv-LV" sz="1400" b="0" i="0">
                <a:solidFill>
                  <a:srgbClr val="212529"/>
                </a:solidFill>
                <a:effectLst/>
              </a:rPr>
              <a:t>zvairieties no braukšanas ar mehanizētiem un nemehanizētiem transportlīdzekļiem vai piestājiet malā spēcīgas snigšanas vai puteņa gadījumā.</a:t>
            </a:r>
          </a:p>
        </p:txBody>
      </p: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0" name="Group 9">
            <a:extLst>
              <a:ext uri="{FF2B5EF4-FFF2-40B4-BE49-F238E27FC236}">
                <a16:creationId xmlns:a16="http://schemas.microsoft.com/office/drawing/2014/main" id="{3D9F3007-5FB1-2326-9A43-7836A0DC65D7}"/>
              </a:ext>
            </a:extLst>
          </p:cNvPr>
          <p:cNvGrpSpPr/>
          <p:nvPr/>
        </p:nvGrpSpPr>
        <p:grpSpPr>
          <a:xfrm>
            <a:off x="442913" y="2538660"/>
            <a:ext cx="576263" cy="3633538"/>
            <a:chOff x="442913" y="2538660"/>
            <a:chExt cx="576263" cy="3633538"/>
          </a:xfrm>
        </p:grpSpPr>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9" name="Rectangle 88">
              <a:extLst>
                <a:ext uri="{FF2B5EF4-FFF2-40B4-BE49-F238E27FC236}">
                  <a16:creationId xmlns:a16="http://schemas.microsoft.com/office/drawing/2014/main" id="{7AD0F22C-299C-4471-6C33-C68875EFE67F}"/>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95" name="Rectangle 94">
            <a:extLst>
              <a:ext uri="{FF2B5EF4-FFF2-40B4-BE49-F238E27FC236}">
                <a16:creationId xmlns:a16="http://schemas.microsoft.com/office/drawing/2014/main" id="{443FAA3C-0F7C-AD6B-CBF1-68825DEE28EF}"/>
              </a:ext>
            </a:extLst>
          </p:cNvPr>
          <p:cNvSpPr/>
          <p:nvPr/>
        </p:nvSpPr>
        <p:spPr>
          <a:xfrm>
            <a:off x="6275388"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6391782" y="421904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6</a:t>
            </a:fld>
            <a:endParaRPr lang="en-GB"/>
          </a:p>
        </p:txBody>
      </p:sp>
      <p:cxnSp>
        <p:nvCxnSpPr>
          <p:cNvPr id="12" name="Straight Connector 11">
            <a:extLst>
              <a:ext uri="{FF2B5EF4-FFF2-40B4-BE49-F238E27FC236}">
                <a16:creationId xmlns:a16="http://schemas.microsoft.com/office/drawing/2014/main" id="{115247EA-EE3B-31EE-8D48-4898D35A3280}"/>
              </a:ext>
            </a:extLst>
          </p:cNvPr>
          <p:cNvCxnSpPr>
            <a:cxnSpLocks/>
          </p:cNvCxnSpPr>
          <p:nvPr/>
        </p:nvCxnSpPr>
        <p:spPr>
          <a:xfrm>
            <a:off x="6940550" y="473107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DBBAF735-721D-F52F-3F37-FEC03949D8CB}"/>
              </a:ext>
            </a:extLst>
          </p:cNvPr>
          <p:cNvCxnSpPr>
            <a:cxnSpLocks/>
          </p:cNvCxnSpPr>
          <p:nvPr/>
        </p:nvCxnSpPr>
        <p:spPr>
          <a:xfrm>
            <a:off x="6940550" y="548726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69CFE8AA-8BE2-A62E-A1B9-8B4AE9C53218}"/>
              </a:ext>
            </a:extLst>
          </p:cNvPr>
          <p:cNvSpPr/>
          <p:nvPr/>
        </p:nvSpPr>
        <p:spPr>
          <a:xfrm>
            <a:off x="6940550" y="4804006"/>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Pārvietojoties izvērtējiet maršrutu, lai pēc iespējas mazāk būtu koku, elektrības vadu un citu lietu, kas no sasaluma varētu lūzt un krist.</a:t>
            </a:r>
          </a:p>
        </p:txBody>
      </p:sp>
      <p:sp>
        <p:nvSpPr>
          <p:cNvPr id="17" name="Rectangle 16">
            <a:extLst>
              <a:ext uri="{FF2B5EF4-FFF2-40B4-BE49-F238E27FC236}">
                <a16:creationId xmlns:a16="http://schemas.microsoft.com/office/drawing/2014/main" id="{F910971B-2255-41F9-8303-8F4AF0AD11A8}"/>
              </a:ext>
            </a:extLst>
          </p:cNvPr>
          <p:cNvSpPr/>
          <p:nvPr/>
        </p:nvSpPr>
        <p:spPr>
          <a:xfrm>
            <a:off x="6940550" y="5560198"/>
            <a:ext cx="49212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spc="-30">
                <a:solidFill>
                  <a:srgbClr val="212529"/>
                </a:solidFill>
              </a:rPr>
              <a:t>I</a:t>
            </a:r>
            <a:r>
              <a:rPr lang="lv-LV" sz="1400" b="0" i="0" spc="-30">
                <a:solidFill>
                  <a:srgbClr val="212529"/>
                </a:solidFill>
                <a:effectLst/>
              </a:rPr>
              <a:t>zvairieties no braukšanas ar mehanizētiem un nemehanizētiem transportlīdzekļiem, izvēlieties piemērotu braukšanas ātrumu vai piestājiet malā stipra apledojuma gadījumā.</a:t>
            </a:r>
          </a:p>
        </p:txBody>
      </p:sp>
      <p:sp>
        <p:nvSpPr>
          <p:cNvPr id="18" name="Rectangle 17">
            <a:extLst>
              <a:ext uri="{FF2B5EF4-FFF2-40B4-BE49-F238E27FC236}">
                <a16:creationId xmlns:a16="http://schemas.microsoft.com/office/drawing/2014/main" id="{B8EA7805-296B-5D47-944C-D538156BAD89}"/>
              </a:ext>
            </a:extLst>
          </p:cNvPr>
          <p:cNvSpPr/>
          <p:nvPr/>
        </p:nvSpPr>
        <p:spPr>
          <a:xfrm>
            <a:off x="6275810"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L-Shape 18">
            <a:extLst>
              <a:ext uri="{FF2B5EF4-FFF2-40B4-BE49-F238E27FC236}">
                <a16:creationId xmlns:a16="http://schemas.microsoft.com/office/drawing/2014/main" id="{C0C5A184-30D0-DA46-BFBE-D02A00834DD6}"/>
              </a:ext>
            </a:extLst>
          </p:cNvPr>
          <p:cNvSpPr/>
          <p:nvPr/>
        </p:nvSpPr>
        <p:spPr>
          <a:xfrm rot="13500000">
            <a:off x="6392204" y="4974424"/>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Rectangle 20">
            <a:extLst>
              <a:ext uri="{FF2B5EF4-FFF2-40B4-BE49-F238E27FC236}">
                <a16:creationId xmlns:a16="http://schemas.microsoft.com/office/drawing/2014/main" id="{B3BACB13-7F5F-7706-5C2F-1B17B9E4C0A1}"/>
              </a:ext>
            </a:extLst>
          </p:cNvPr>
          <p:cNvSpPr/>
          <p:nvPr/>
        </p:nvSpPr>
        <p:spPr>
          <a:xfrm>
            <a:off x="6275810"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2" name="L-Shape 21">
            <a:extLst>
              <a:ext uri="{FF2B5EF4-FFF2-40B4-BE49-F238E27FC236}">
                <a16:creationId xmlns:a16="http://schemas.microsoft.com/office/drawing/2014/main" id="{23636E8D-78E7-BF51-1737-96A4E2EF4240}"/>
              </a:ext>
            </a:extLst>
          </p:cNvPr>
          <p:cNvSpPr/>
          <p:nvPr/>
        </p:nvSpPr>
        <p:spPr>
          <a:xfrm rot="13500000">
            <a:off x="6392204" y="572981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3" name="Group 2">
            <a:extLst>
              <a:ext uri="{FF2B5EF4-FFF2-40B4-BE49-F238E27FC236}">
                <a16:creationId xmlns:a16="http://schemas.microsoft.com/office/drawing/2014/main" id="{0C4FC407-66FD-8DBA-7A88-7F018D8C046A}"/>
              </a:ext>
            </a:extLst>
          </p:cNvPr>
          <p:cNvGrpSpPr/>
          <p:nvPr/>
        </p:nvGrpSpPr>
        <p:grpSpPr>
          <a:xfrm>
            <a:off x="9190780" y="159786"/>
            <a:ext cx="2558308" cy="217488"/>
            <a:chOff x="9190780" y="159786"/>
            <a:chExt cx="2558308" cy="217488"/>
          </a:xfrm>
        </p:grpSpPr>
        <p:sp>
          <p:nvSpPr>
            <p:cNvPr id="4" name="Rectangle 3">
              <a:extLst>
                <a:ext uri="{FF2B5EF4-FFF2-40B4-BE49-F238E27FC236}">
                  <a16:creationId xmlns:a16="http://schemas.microsoft.com/office/drawing/2014/main" id="{2002AF30-FEEF-94D2-3735-B4E8E690A1ED}"/>
                </a:ext>
              </a:extLst>
            </p:cNvPr>
            <p:cNvSpPr/>
            <p:nvPr/>
          </p:nvSpPr>
          <p:spPr>
            <a:xfrm>
              <a:off x="9432606" y="159786"/>
              <a:ext cx="1833251"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74A5160E-1BE1-94D3-82E4-8B5D5F549666}"/>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41C40829-DA25-633D-F5B1-0B5A43E5863B}"/>
                </a:ext>
              </a:extLst>
            </p:cNvPr>
            <p:cNvSpPr/>
            <p:nvPr/>
          </p:nvSpPr>
          <p:spPr>
            <a:xfrm>
              <a:off x="919078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568ABCE7-8166-03F3-E27E-B35E052B4811}"/>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6374883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5AFF439-9F5A-0531-7A7E-8B96D3028C86}"/>
              </a:ext>
            </a:extLst>
          </p:cNvPr>
          <p:cNvGraphicFramePr>
            <a:graphicFrameLocks noChangeAspect="1"/>
          </p:cNvGraphicFramePr>
          <p:nvPr>
            <p:custDataLst>
              <p:tags r:id="rId1"/>
            </p:custDataLst>
            <p:extLst>
              <p:ext uri="{D42A27DB-BD31-4B8C-83A1-F6EECF244321}">
                <p14:modId xmlns:p14="http://schemas.microsoft.com/office/powerpoint/2010/main" val="1741035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85AFF439-9F5A-0531-7A7E-8B96D3028C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F69FC736-4A16-6576-C369-B5F3F947737C}"/>
              </a:ext>
            </a:extLst>
          </p:cNvPr>
          <p:cNvGrpSpPr/>
          <p:nvPr/>
        </p:nvGrpSpPr>
        <p:grpSpPr>
          <a:xfrm>
            <a:off x="9190780" y="159786"/>
            <a:ext cx="2558308" cy="217488"/>
            <a:chOff x="9190780" y="159786"/>
            <a:chExt cx="2558308" cy="217488"/>
          </a:xfrm>
        </p:grpSpPr>
        <p:sp>
          <p:nvSpPr>
            <p:cNvPr id="15" name="Rectangle 14">
              <a:extLst>
                <a:ext uri="{FF2B5EF4-FFF2-40B4-BE49-F238E27FC236}">
                  <a16:creationId xmlns:a16="http://schemas.microsoft.com/office/drawing/2014/main" id="{30B8C7D9-29E2-1905-A2F3-F71B305FF32B}"/>
                </a:ext>
              </a:extLst>
            </p:cNvPr>
            <p:cNvSpPr/>
            <p:nvPr/>
          </p:nvSpPr>
          <p:spPr>
            <a:xfrm>
              <a:off x="9432606" y="159786"/>
              <a:ext cx="1833251"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FC09A0A4-70E6-0999-0314-393E3EAB485D}"/>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FDC0D40E-6B83-C491-7DC1-714E32CC595C}"/>
                </a:ext>
              </a:extLst>
            </p:cNvPr>
            <p:cNvSpPr/>
            <p:nvPr/>
          </p:nvSpPr>
          <p:spPr>
            <a:xfrm>
              <a:off x="919078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85BADE5C-E662-A3C6-64D3-0DD06EE01F62}"/>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Zemestrīces</a:t>
            </a:r>
            <a:r>
              <a:rPr lang="lv-LV">
                <a:solidFill>
                  <a:srgbClr val="C00000"/>
                </a:solidFill>
              </a:rPr>
              <a:t> </a:t>
            </a:r>
            <a:br>
              <a:rPr lang="lv-LV">
                <a:solidFill>
                  <a:srgbClr val="C00000"/>
                </a:solidFill>
              </a:rPr>
            </a:br>
            <a:r>
              <a:rPr lang="lv-LV">
                <a:solidFill>
                  <a:srgbClr val="A8192D"/>
                </a:solidFill>
              </a:rPr>
              <a:t>Kā rīkoti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7</a:t>
            </a:fld>
            <a:endParaRPr lang="en-GB"/>
          </a:p>
        </p:txBody>
      </p:sp>
      <p:sp>
        <p:nvSpPr>
          <p:cNvPr id="17" name="Rectangle 16">
            <a:extLst>
              <a:ext uri="{FF2B5EF4-FFF2-40B4-BE49-F238E27FC236}">
                <a16:creationId xmlns:a16="http://schemas.microsoft.com/office/drawing/2014/main" id="{07AE82BB-05A2-CD64-8E88-E56BE937E148}"/>
              </a:ext>
            </a:extLst>
          </p:cNvPr>
          <p:cNvSpPr/>
          <p:nvPr/>
        </p:nvSpPr>
        <p:spPr>
          <a:xfrm>
            <a:off x="442912" y="1817687"/>
            <a:ext cx="576000" cy="173738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0D29C800-1357-4655-9D13-45F309E496CE}"/>
              </a:ext>
            </a:extLst>
          </p:cNvPr>
          <p:cNvSpPr/>
          <p:nvPr/>
        </p:nvSpPr>
        <p:spPr>
          <a:xfrm>
            <a:off x="442912" y="3691685"/>
            <a:ext cx="576000" cy="97759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Rectangle 18">
            <a:extLst>
              <a:ext uri="{FF2B5EF4-FFF2-40B4-BE49-F238E27FC236}">
                <a16:creationId xmlns:a16="http://schemas.microsoft.com/office/drawing/2014/main" id="{3D4E6847-68DD-0003-3C96-43255AC18067}"/>
              </a:ext>
            </a:extLst>
          </p:cNvPr>
          <p:cNvSpPr/>
          <p:nvPr/>
        </p:nvSpPr>
        <p:spPr>
          <a:xfrm>
            <a:off x="442912" y="4804200"/>
            <a:ext cx="576000" cy="136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87A7D407-C040-2E26-BF42-22D769757BED}"/>
              </a:ext>
            </a:extLst>
          </p:cNvPr>
          <p:cNvSpPr/>
          <p:nvPr/>
        </p:nvSpPr>
        <p:spPr>
          <a:xfrm>
            <a:off x="1120998" y="1817417"/>
            <a:ext cx="4795615" cy="173792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Ja Jūs atrodaties iekštelpās</a:t>
            </a:r>
            <a:r>
              <a:rPr lang="lv-LV" sz="1400">
                <a:solidFill>
                  <a:schemeClr val="tx1"/>
                </a:solidFill>
              </a:rPr>
              <a:t>, tad palieciet tur. Ātri pārvietojieties uz drošāku vietu istabā, piemēram, zem masīva galda, pie iekšējās sienas vai durvju ailē. Šādas pārvietošanās mērķis ir pasargāt sevi no krītošiem priekšmetiem. Izvairieties atrasties stūros, kas izvietoti pie logiem, lieliem spoguļiem, priekšmetiem, kas karājas, smagām mēbelēm, kamīniem un krāsnīm.</a:t>
            </a:r>
          </a:p>
        </p:txBody>
      </p:sp>
      <p:sp>
        <p:nvSpPr>
          <p:cNvPr id="28" name="Rectangle 27">
            <a:extLst>
              <a:ext uri="{FF2B5EF4-FFF2-40B4-BE49-F238E27FC236}">
                <a16:creationId xmlns:a16="http://schemas.microsoft.com/office/drawing/2014/main" id="{B76B17B5-8B5C-F3CE-8063-0A63948D78B6}"/>
              </a:ext>
            </a:extLst>
          </p:cNvPr>
          <p:cNvSpPr/>
          <p:nvPr/>
        </p:nvSpPr>
        <p:spPr>
          <a:xfrm>
            <a:off x="1120998" y="3689948"/>
            <a:ext cx="4795615" cy="9779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dirty="0">
                <a:solidFill>
                  <a:schemeClr val="tx1"/>
                </a:solidFill>
              </a:rPr>
              <a:t>Ja jūs gatavojat ēst</a:t>
            </a:r>
            <a:r>
              <a:rPr lang="lv-LV" sz="1400" dirty="0">
                <a:solidFill>
                  <a:schemeClr val="tx1"/>
                </a:solidFill>
              </a:rPr>
              <a:t>, tad atslēdziet plīti un pārvietojieties uz drošāku vietu istabā.</a:t>
            </a:r>
            <a:endParaRPr lang="lv-LV" sz="1400" dirty="0">
              <a:solidFill>
                <a:schemeClr val="tx1"/>
              </a:solidFill>
              <a:cs typeface="Arial"/>
            </a:endParaRPr>
          </a:p>
        </p:txBody>
      </p:sp>
      <p:sp>
        <p:nvSpPr>
          <p:cNvPr id="29" name="Rectangle 28">
            <a:extLst>
              <a:ext uri="{FF2B5EF4-FFF2-40B4-BE49-F238E27FC236}">
                <a16:creationId xmlns:a16="http://schemas.microsoft.com/office/drawing/2014/main" id="{D69C1672-FFAD-16A3-63FE-225E5F660E44}"/>
              </a:ext>
            </a:extLst>
          </p:cNvPr>
          <p:cNvSpPr/>
          <p:nvPr/>
        </p:nvSpPr>
        <p:spPr>
          <a:xfrm>
            <a:off x="1120998" y="4803775"/>
            <a:ext cx="4795615" cy="1368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Ja jūs atrodaties ārpusē</a:t>
            </a:r>
            <a:r>
              <a:rPr lang="lv-LV" sz="1400">
                <a:solidFill>
                  <a:schemeClr val="tx1"/>
                </a:solidFill>
              </a:rPr>
              <a:t>, pārvietojaties uz atklātu teritoriju, kur krītoši objekti nevarētu Jūs aizskart. Pārvietojieties prom no ēkām, elektrības līnijām un kokiem.</a:t>
            </a:r>
          </a:p>
        </p:txBody>
      </p:sp>
      <p:sp>
        <p:nvSpPr>
          <p:cNvPr id="31" name="L-Shape 30">
            <a:extLst>
              <a:ext uri="{FF2B5EF4-FFF2-40B4-BE49-F238E27FC236}">
                <a16:creationId xmlns:a16="http://schemas.microsoft.com/office/drawing/2014/main" id="{D9C05CF2-2421-98FB-5151-12DDF67E8CAA}"/>
              </a:ext>
            </a:extLst>
          </p:cNvPr>
          <p:cNvSpPr/>
          <p:nvPr/>
        </p:nvSpPr>
        <p:spPr>
          <a:xfrm rot="13500000">
            <a:off x="514214" y="2514233"/>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L-Shape 31">
            <a:extLst>
              <a:ext uri="{FF2B5EF4-FFF2-40B4-BE49-F238E27FC236}">
                <a16:creationId xmlns:a16="http://schemas.microsoft.com/office/drawing/2014/main" id="{07DEA566-3113-A336-A349-10675574D181}"/>
              </a:ext>
            </a:extLst>
          </p:cNvPr>
          <p:cNvSpPr/>
          <p:nvPr/>
        </p:nvSpPr>
        <p:spPr>
          <a:xfrm rot="13500000">
            <a:off x="514214" y="4008340"/>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L-Shape 32">
            <a:extLst>
              <a:ext uri="{FF2B5EF4-FFF2-40B4-BE49-F238E27FC236}">
                <a16:creationId xmlns:a16="http://schemas.microsoft.com/office/drawing/2014/main" id="{EF323899-14D3-7456-8427-D3672C6FAA49}"/>
              </a:ext>
            </a:extLst>
          </p:cNvPr>
          <p:cNvSpPr/>
          <p:nvPr/>
        </p:nvSpPr>
        <p:spPr>
          <a:xfrm rot="13500000">
            <a:off x="514214" y="5316056"/>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Rectangle 33">
            <a:extLst>
              <a:ext uri="{FF2B5EF4-FFF2-40B4-BE49-F238E27FC236}">
                <a16:creationId xmlns:a16="http://schemas.microsoft.com/office/drawing/2014/main" id="{D4C37CD8-968C-EC30-63E2-666DDD7E6114}"/>
              </a:ext>
            </a:extLst>
          </p:cNvPr>
          <p:cNvSpPr/>
          <p:nvPr/>
        </p:nvSpPr>
        <p:spPr>
          <a:xfrm>
            <a:off x="6275389" y="1817687"/>
            <a:ext cx="576000" cy="173738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Rectangle 34">
            <a:extLst>
              <a:ext uri="{FF2B5EF4-FFF2-40B4-BE49-F238E27FC236}">
                <a16:creationId xmlns:a16="http://schemas.microsoft.com/office/drawing/2014/main" id="{1AED2D03-04F3-8519-CA78-D8EEEA081F4F}"/>
              </a:ext>
            </a:extLst>
          </p:cNvPr>
          <p:cNvSpPr/>
          <p:nvPr/>
        </p:nvSpPr>
        <p:spPr>
          <a:xfrm>
            <a:off x="6275389" y="3691685"/>
            <a:ext cx="576000" cy="97759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Rectangle 35">
            <a:extLst>
              <a:ext uri="{FF2B5EF4-FFF2-40B4-BE49-F238E27FC236}">
                <a16:creationId xmlns:a16="http://schemas.microsoft.com/office/drawing/2014/main" id="{07CEBB56-7673-8206-8383-0066BCD7C03B}"/>
              </a:ext>
            </a:extLst>
          </p:cNvPr>
          <p:cNvSpPr/>
          <p:nvPr/>
        </p:nvSpPr>
        <p:spPr>
          <a:xfrm>
            <a:off x="6275389" y="4804200"/>
            <a:ext cx="576000" cy="1368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Rectangle 36">
            <a:extLst>
              <a:ext uri="{FF2B5EF4-FFF2-40B4-BE49-F238E27FC236}">
                <a16:creationId xmlns:a16="http://schemas.microsoft.com/office/drawing/2014/main" id="{114E4D58-D213-1CDC-E017-0EED8A2C6A7D}"/>
              </a:ext>
            </a:extLst>
          </p:cNvPr>
          <p:cNvSpPr/>
          <p:nvPr/>
        </p:nvSpPr>
        <p:spPr>
          <a:xfrm>
            <a:off x="6953475" y="1817417"/>
            <a:ext cx="4795615" cy="173792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Nekādā gadījumā nedrīkst mēģināt izkļūt no ēkas zemestrīces laikā</a:t>
            </a:r>
            <a:r>
              <a:rPr lang="lv-LV" sz="1400">
                <a:solidFill>
                  <a:schemeClr val="tx1"/>
                </a:solidFill>
              </a:rPr>
              <a:t>, jo krītošās ēkas daļas kāpņu telpā vai brūkošās trepes var savainot vai nogalināt. Tikai pašā zemestrīces sākumā tiem, kuri atrodas tuvu ārējām izejas durvīm, vajadzētu pēc iespējas ātrāk izkļūt no ēkas un patverties pēc iespējas lielākā klajumā.</a:t>
            </a:r>
          </a:p>
        </p:txBody>
      </p:sp>
      <p:sp>
        <p:nvSpPr>
          <p:cNvPr id="38" name="Rectangle 37">
            <a:extLst>
              <a:ext uri="{FF2B5EF4-FFF2-40B4-BE49-F238E27FC236}">
                <a16:creationId xmlns:a16="http://schemas.microsoft.com/office/drawing/2014/main" id="{6EFDA28B-B76F-477E-3282-8B51A532FCBB}"/>
              </a:ext>
            </a:extLst>
          </p:cNvPr>
          <p:cNvSpPr/>
          <p:nvPr/>
        </p:nvSpPr>
        <p:spPr>
          <a:xfrm>
            <a:off x="6953475" y="3689948"/>
            <a:ext cx="4795615" cy="9779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Ja jūs atrodaties vietā</a:t>
            </a:r>
            <a:r>
              <a:rPr lang="lv-LV" sz="1400">
                <a:solidFill>
                  <a:schemeClr val="tx1"/>
                </a:solidFill>
              </a:rPr>
              <a:t>, kur ir daudz cilvēku, izvairieties no panikas un nesteidzieties uz izeju. Notupieties un apsedziet galvu un kaklu ar rokām un plaukstām.</a:t>
            </a:r>
          </a:p>
        </p:txBody>
      </p:sp>
      <p:sp>
        <p:nvSpPr>
          <p:cNvPr id="39" name="Rectangle 38">
            <a:extLst>
              <a:ext uri="{FF2B5EF4-FFF2-40B4-BE49-F238E27FC236}">
                <a16:creationId xmlns:a16="http://schemas.microsoft.com/office/drawing/2014/main" id="{81207953-BD7F-B4A4-E6BC-157B8E494D6B}"/>
              </a:ext>
            </a:extLst>
          </p:cNvPr>
          <p:cNvSpPr/>
          <p:nvPr/>
        </p:nvSpPr>
        <p:spPr>
          <a:xfrm>
            <a:off x="6953475" y="4803775"/>
            <a:ext cx="4795615" cy="1368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tx1"/>
                </a:solidFill>
              </a:rPr>
              <a:t>Ja jūs braucat automašīnā</a:t>
            </a:r>
            <a:r>
              <a:rPr lang="lv-LV" sz="1400">
                <a:solidFill>
                  <a:schemeClr val="tx1"/>
                </a:solidFill>
              </a:rPr>
              <a:t>, lēnām samaziniet braukšanas ātrumu un apstājieties ielas pusē. Izvairieties no apstāšanās uz un zem tiltiem un ceļu pārvadiem, zem elektrības līnijām, kokiem un lielām </a:t>
            </a:r>
            <a:r>
              <a:rPr lang="lv-LV" sz="1400" err="1">
                <a:solidFill>
                  <a:schemeClr val="tx1"/>
                </a:solidFill>
              </a:rPr>
              <a:t>izkārtnēm</a:t>
            </a:r>
            <a:r>
              <a:rPr lang="lv-LV" sz="1400">
                <a:solidFill>
                  <a:schemeClr val="tx1"/>
                </a:solidFill>
              </a:rPr>
              <a:t>. Palieciet mašīnā!</a:t>
            </a:r>
          </a:p>
        </p:txBody>
      </p:sp>
      <p:sp>
        <p:nvSpPr>
          <p:cNvPr id="40" name="L-Shape 39">
            <a:extLst>
              <a:ext uri="{FF2B5EF4-FFF2-40B4-BE49-F238E27FC236}">
                <a16:creationId xmlns:a16="http://schemas.microsoft.com/office/drawing/2014/main" id="{F39CE4AD-F4DC-916E-E136-40A8E8E2B3DF}"/>
              </a:ext>
            </a:extLst>
          </p:cNvPr>
          <p:cNvSpPr/>
          <p:nvPr/>
        </p:nvSpPr>
        <p:spPr>
          <a:xfrm rot="13500000">
            <a:off x="6346691" y="2514233"/>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L-Shape 40">
            <a:extLst>
              <a:ext uri="{FF2B5EF4-FFF2-40B4-BE49-F238E27FC236}">
                <a16:creationId xmlns:a16="http://schemas.microsoft.com/office/drawing/2014/main" id="{FB94A174-7C36-DD09-F10E-C9FC47196C50}"/>
              </a:ext>
            </a:extLst>
          </p:cNvPr>
          <p:cNvSpPr/>
          <p:nvPr/>
        </p:nvSpPr>
        <p:spPr>
          <a:xfrm rot="13500000">
            <a:off x="6346691" y="4008340"/>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2" name="L-Shape 41">
            <a:extLst>
              <a:ext uri="{FF2B5EF4-FFF2-40B4-BE49-F238E27FC236}">
                <a16:creationId xmlns:a16="http://schemas.microsoft.com/office/drawing/2014/main" id="{617F6F6C-5F02-B35F-E984-970EC66E4D06}"/>
              </a:ext>
            </a:extLst>
          </p:cNvPr>
          <p:cNvSpPr/>
          <p:nvPr/>
        </p:nvSpPr>
        <p:spPr>
          <a:xfrm rot="13500000">
            <a:off x="6346691" y="5316056"/>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Tree>
    <p:extLst>
      <p:ext uri="{BB962C8B-B14F-4D97-AF65-F5344CB8AC3E}">
        <p14:creationId xmlns:p14="http://schemas.microsoft.com/office/powerpoint/2010/main" val="40931140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a:extLst>
              <a:ext uri="{FF2B5EF4-FFF2-40B4-BE49-F238E27FC236}">
                <a16:creationId xmlns:a16="http://schemas.microsoft.com/office/drawing/2014/main" id="{DFCE0E3C-012B-4F30-8D46-589FB7BDFA9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p:blipFill>
        <p:spPr bwMode="auto">
          <a:xfrm flipH="1">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t>6.2</a:t>
            </a:r>
            <a:r>
              <a:rPr lang="lv-LV" sz="4000">
                <a:latin typeface="+mj-lt"/>
              </a:rPr>
              <a:t>.</a:t>
            </a:r>
            <a:r>
              <a:rPr lang="lv-LV" sz="4000"/>
              <a:t> Rīcība antropogēno katastrofu gadījumā</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0647534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07EA338-B000-0D36-0D66-47997EEEED3E}"/>
              </a:ext>
            </a:extLst>
          </p:cNvPr>
          <p:cNvGraphicFramePr>
            <a:graphicFrameLocks noChangeAspect="1"/>
          </p:cNvGraphicFramePr>
          <p:nvPr>
            <p:custDataLst>
              <p:tags r:id="rId1"/>
            </p:custDataLst>
            <p:extLst>
              <p:ext uri="{D42A27DB-BD31-4B8C-83A1-F6EECF244321}">
                <p14:modId xmlns:p14="http://schemas.microsoft.com/office/powerpoint/2010/main" val="1766252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9" name="think-cell data - do not delete" hidden="1">
                        <a:extLst>
                          <a:ext uri="{FF2B5EF4-FFF2-40B4-BE49-F238E27FC236}">
                            <a16:creationId xmlns:a16="http://schemas.microsoft.com/office/drawing/2014/main" id="{207EA338-B000-0D36-0D66-47997EEEED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Ugunsgrēki</a:t>
            </a:r>
            <a:br>
              <a:rPr lang="lv-LV"/>
            </a:br>
            <a:r>
              <a:rPr lang="lv-LV">
                <a:solidFill>
                  <a:srgbClr val="A8192D"/>
                </a:solidFill>
              </a:rPr>
              <a:t>Kā rīkoti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9</a:t>
            </a:fld>
            <a:endParaRPr lang="en-GB"/>
          </a:p>
        </p:txBody>
      </p:sp>
      <p:grpSp>
        <p:nvGrpSpPr>
          <p:cNvPr id="3" name="Group 2">
            <a:extLst>
              <a:ext uri="{FF2B5EF4-FFF2-40B4-BE49-F238E27FC236}">
                <a16:creationId xmlns:a16="http://schemas.microsoft.com/office/drawing/2014/main" id="{8FA5ACEF-8582-8618-1B4E-B267995D34B4}"/>
              </a:ext>
            </a:extLst>
          </p:cNvPr>
          <p:cNvGrpSpPr/>
          <p:nvPr/>
        </p:nvGrpSpPr>
        <p:grpSpPr>
          <a:xfrm>
            <a:off x="8844369" y="159786"/>
            <a:ext cx="2904719" cy="220267"/>
            <a:chOff x="8844369" y="159786"/>
            <a:chExt cx="2904719" cy="220267"/>
          </a:xfrm>
        </p:grpSpPr>
        <p:sp>
          <p:nvSpPr>
            <p:cNvPr id="5" name="Rectangle 4">
              <a:extLst>
                <a:ext uri="{FF2B5EF4-FFF2-40B4-BE49-F238E27FC236}">
                  <a16:creationId xmlns:a16="http://schemas.microsoft.com/office/drawing/2014/main" id="{CCBABEB7-6940-84C0-1E8E-6B582ECF3BE7}"/>
                </a:ext>
              </a:extLst>
            </p:cNvPr>
            <p:cNvSpPr/>
            <p:nvPr/>
          </p:nvSpPr>
          <p:spPr>
            <a:xfrm>
              <a:off x="9327597" y="159786"/>
              <a:ext cx="2179876"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ntropogēn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A71AFD6F-C723-2940-794E-D2AB9D711807}"/>
                </a:ext>
              </a:extLst>
            </p:cNvPr>
            <p:cNvSpPr/>
            <p:nvPr/>
          </p:nvSpPr>
          <p:spPr>
            <a:xfrm>
              <a:off x="9085983"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17DA8AE7-054B-DF1C-2F1A-914F0CB835DF}"/>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32C548EF-E0D4-42D8-99B4-B9BC721267E2}"/>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9" name="Rectangle 8">
            <a:extLst>
              <a:ext uri="{FF2B5EF4-FFF2-40B4-BE49-F238E27FC236}">
                <a16:creationId xmlns:a16="http://schemas.microsoft.com/office/drawing/2014/main" id="{51AEE026-783E-E3BB-5DBF-66104269B8A0}"/>
              </a:ext>
            </a:extLst>
          </p:cNvPr>
          <p:cNvSpPr/>
          <p:nvPr/>
        </p:nvSpPr>
        <p:spPr>
          <a:xfrm>
            <a:off x="442913" y="1823905"/>
            <a:ext cx="38271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fi-FI" sz="1600" b="1">
                <a:solidFill>
                  <a:schemeClr val="bg1"/>
                </a:solidFill>
              </a:rPr>
              <a:t>Ja var</a:t>
            </a:r>
            <a:r>
              <a:rPr lang="lv-LV" sz="1600" b="1">
                <a:solidFill>
                  <a:schemeClr val="bg1"/>
                </a:solidFill>
              </a:rPr>
              <a:t>at</a:t>
            </a:r>
            <a:r>
              <a:rPr lang="fi-FI" sz="1600" b="1">
                <a:solidFill>
                  <a:schemeClr val="bg1"/>
                </a:solidFill>
              </a:rPr>
              <a:t> izkļūt no telpas:</a:t>
            </a:r>
          </a:p>
        </p:txBody>
      </p:sp>
      <p:sp>
        <p:nvSpPr>
          <p:cNvPr id="12" name="Rectangle 11">
            <a:extLst>
              <a:ext uri="{FF2B5EF4-FFF2-40B4-BE49-F238E27FC236}">
                <a16:creationId xmlns:a16="http://schemas.microsoft.com/office/drawing/2014/main" id="{879A926F-6658-DAA7-02B9-E966021CE708}"/>
              </a:ext>
            </a:extLst>
          </p:cNvPr>
          <p:cNvSpPr/>
          <p:nvPr/>
        </p:nvSpPr>
        <p:spPr>
          <a:xfrm>
            <a:off x="1086396" y="4925768"/>
            <a:ext cx="3839154" cy="53269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spc="-50">
                <a:solidFill>
                  <a:srgbClr val="212529"/>
                </a:solidFill>
                <a:effectLst/>
              </a:rPr>
              <a:t>Ja, uztaustot durvis, jūtiet, ka tās ir karstas, neveriet tās vaļā. Tas var nozīmēt, ka aiz durvīm plosās</a:t>
            </a:r>
            <a:r>
              <a:rPr lang="en-US" sz="1200" b="0" i="0" spc="-50">
                <a:solidFill>
                  <a:srgbClr val="212529"/>
                </a:solidFill>
                <a:effectLst/>
              </a:rPr>
              <a:t> </a:t>
            </a:r>
            <a:r>
              <a:rPr lang="lv-LV" sz="1200" b="0" i="0" spc="-50">
                <a:solidFill>
                  <a:srgbClr val="212529"/>
                </a:solidFill>
                <a:effectLst/>
              </a:rPr>
              <a:t>uguns.</a:t>
            </a:r>
            <a:r>
              <a:rPr lang="en-US" sz="1200" b="0" i="0" spc="-50">
                <a:solidFill>
                  <a:srgbClr val="212529"/>
                </a:solidFill>
                <a:effectLst/>
              </a:rPr>
              <a:t> </a:t>
            </a:r>
            <a:r>
              <a:rPr lang="lv-LV" sz="1200" b="1" i="0" spc="-50">
                <a:solidFill>
                  <a:srgbClr val="A8192D"/>
                </a:solidFill>
                <a:effectLst/>
              </a:rPr>
              <a:t>Atcerieties! </a:t>
            </a:r>
            <a:r>
              <a:rPr lang="lv-LV" sz="1200" b="0" i="0" spc="-50">
                <a:solidFill>
                  <a:srgbClr val="A8192D"/>
                </a:solidFill>
                <a:effectLst/>
              </a:rPr>
              <a:t>Atverot durvis, liesmas uzreiz iekļūs istabā. </a:t>
            </a:r>
          </a:p>
        </p:txBody>
      </p:sp>
      <p:sp>
        <p:nvSpPr>
          <p:cNvPr id="14" name="Rectangle 13">
            <a:extLst>
              <a:ext uri="{FF2B5EF4-FFF2-40B4-BE49-F238E27FC236}">
                <a16:creationId xmlns:a16="http://schemas.microsoft.com/office/drawing/2014/main" id="{38B7A15B-C497-C2BD-7DEB-F1C67E912EAA}"/>
              </a:ext>
            </a:extLst>
          </p:cNvPr>
          <p:cNvSpPr/>
          <p:nvPr/>
        </p:nvSpPr>
        <p:spPr>
          <a:xfrm>
            <a:off x="442913" y="4925520"/>
            <a:ext cx="576263" cy="53293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 name="L-Shape 14">
            <a:extLst>
              <a:ext uri="{FF2B5EF4-FFF2-40B4-BE49-F238E27FC236}">
                <a16:creationId xmlns:a16="http://schemas.microsoft.com/office/drawing/2014/main" id="{04702416-3F0E-9E89-EF83-2F7826A13003}"/>
              </a:ext>
            </a:extLst>
          </p:cNvPr>
          <p:cNvSpPr/>
          <p:nvPr/>
        </p:nvSpPr>
        <p:spPr>
          <a:xfrm rot="13500000">
            <a:off x="565781" y="5055601"/>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21" name="Straight Connector 20">
            <a:extLst>
              <a:ext uri="{FF2B5EF4-FFF2-40B4-BE49-F238E27FC236}">
                <a16:creationId xmlns:a16="http://schemas.microsoft.com/office/drawing/2014/main" id="{12711565-5711-AA84-2881-C9E9AA546034}"/>
              </a:ext>
            </a:extLst>
          </p:cNvPr>
          <p:cNvCxnSpPr>
            <a:cxnSpLocks/>
          </p:cNvCxnSpPr>
          <p:nvPr/>
        </p:nvCxnSpPr>
        <p:spPr>
          <a:xfrm>
            <a:off x="1097124" y="3357039"/>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469AFEDE-0513-EBB5-6C54-3E16EF4B2074}"/>
              </a:ext>
            </a:extLst>
          </p:cNvPr>
          <p:cNvSpPr/>
          <p:nvPr/>
        </p:nvSpPr>
        <p:spPr>
          <a:xfrm>
            <a:off x="4243455" y="182390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24" name="Rectangle 23">
            <a:extLst>
              <a:ext uri="{FF2B5EF4-FFF2-40B4-BE49-F238E27FC236}">
                <a16:creationId xmlns:a16="http://schemas.microsoft.com/office/drawing/2014/main" id="{02CA6F85-C911-CD59-D704-C4579951979C}"/>
              </a:ext>
            </a:extLst>
          </p:cNvPr>
          <p:cNvSpPr/>
          <p:nvPr/>
        </p:nvSpPr>
        <p:spPr>
          <a:xfrm>
            <a:off x="4172567" y="182390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Google Shape;2220;p101">
            <a:extLst>
              <a:ext uri="{FF2B5EF4-FFF2-40B4-BE49-F238E27FC236}">
                <a16:creationId xmlns:a16="http://schemas.microsoft.com/office/drawing/2014/main" id="{3EABB975-7F14-80B7-E3B4-9998F9EC6747}"/>
              </a:ext>
            </a:extLst>
          </p:cNvPr>
          <p:cNvSpPr/>
          <p:nvPr/>
        </p:nvSpPr>
        <p:spPr>
          <a:xfrm>
            <a:off x="4387455" y="196790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111" name="Group 110">
            <a:extLst>
              <a:ext uri="{FF2B5EF4-FFF2-40B4-BE49-F238E27FC236}">
                <a16:creationId xmlns:a16="http://schemas.microsoft.com/office/drawing/2014/main" id="{4C335918-7D9C-97F0-3EEB-64ECCADA1A45}"/>
              </a:ext>
            </a:extLst>
          </p:cNvPr>
          <p:cNvGrpSpPr/>
          <p:nvPr/>
        </p:nvGrpSpPr>
        <p:grpSpPr>
          <a:xfrm>
            <a:off x="5160559" y="5463000"/>
            <a:ext cx="6571068" cy="709200"/>
            <a:chOff x="5160559" y="5463000"/>
            <a:chExt cx="6571068" cy="709200"/>
          </a:xfrm>
        </p:grpSpPr>
        <p:sp>
          <p:nvSpPr>
            <p:cNvPr id="26" name="Rectangle 25">
              <a:extLst>
                <a:ext uri="{FF2B5EF4-FFF2-40B4-BE49-F238E27FC236}">
                  <a16:creationId xmlns:a16="http://schemas.microsoft.com/office/drawing/2014/main" id="{65F98EEB-1867-24F1-F90B-94B60ABC7A1E}"/>
                </a:ext>
              </a:extLst>
            </p:cNvPr>
            <p:cNvSpPr/>
            <p:nvPr/>
          </p:nvSpPr>
          <p:spPr>
            <a:xfrm>
              <a:off x="5821364" y="5616253"/>
              <a:ext cx="5910263"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atrodieties ēkas pirmajā stāvā un varat pa logu izkļūt drošībā – dariet to.</a:t>
              </a:r>
            </a:p>
          </p:txBody>
        </p:sp>
        <p:sp>
          <p:nvSpPr>
            <p:cNvPr id="27" name="Rectangle 26">
              <a:extLst>
                <a:ext uri="{FF2B5EF4-FFF2-40B4-BE49-F238E27FC236}">
                  <a16:creationId xmlns:a16="http://schemas.microsoft.com/office/drawing/2014/main" id="{2BABB28D-F02F-3E81-098C-D01A3227AEA3}"/>
                </a:ext>
              </a:extLst>
            </p:cNvPr>
            <p:cNvSpPr/>
            <p:nvPr/>
          </p:nvSpPr>
          <p:spPr>
            <a:xfrm>
              <a:off x="5160559" y="5463000"/>
              <a:ext cx="576263" cy="709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8" name="L-Shape 27">
              <a:extLst>
                <a:ext uri="{FF2B5EF4-FFF2-40B4-BE49-F238E27FC236}">
                  <a16:creationId xmlns:a16="http://schemas.microsoft.com/office/drawing/2014/main" id="{65AC1AB7-69ED-30EE-3EBA-6F49AA67C914}"/>
                </a:ext>
              </a:extLst>
            </p:cNvPr>
            <p:cNvSpPr/>
            <p:nvPr/>
          </p:nvSpPr>
          <p:spPr>
            <a:xfrm rot="13500000">
              <a:off x="5283427" y="568121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96" name="Group 95">
            <a:extLst>
              <a:ext uri="{FF2B5EF4-FFF2-40B4-BE49-F238E27FC236}">
                <a16:creationId xmlns:a16="http://schemas.microsoft.com/office/drawing/2014/main" id="{F20D40B7-8FC9-DA8E-E935-54637CFCC2B5}"/>
              </a:ext>
            </a:extLst>
          </p:cNvPr>
          <p:cNvGrpSpPr/>
          <p:nvPr/>
        </p:nvGrpSpPr>
        <p:grpSpPr>
          <a:xfrm>
            <a:off x="5160559" y="1823905"/>
            <a:ext cx="6571207" cy="709200"/>
            <a:chOff x="5160559" y="1823905"/>
            <a:chExt cx="6571207" cy="709200"/>
          </a:xfrm>
        </p:grpSpPr>
        <p:sp>
          <p:nvSpPr>
            <p:cNvPr id="29" name="Rectangle 28">
              <a:extLst>
                <a:ext uri="{FF2B5EF4-FFF2-40B4-BE49-F238E27FC236}">
                  <a16:creationId xmlns:a16="http://schemas.microsoft.com/office/drawing/2014/main" id="{D0459FDC-3233-A1DB-B051-A449292A3271}"/>
                </a:ext>
              </a:extLst>
            </p:cNvPr>
            <p:cNvSpPr/>
            <p:nvPr/>
          </p:nvSpPr>
          <p:spPr>
            <a:xfrm>
              <a:off x="5821364" y="1977158"/>
              <a:ext cx="5910402"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200">
                  <a:solidFill>
                    <a:srgbClr val="212529"/>
                  </a:solidFill>
                </a:rPr>
                <a:t>Esot drošībā ārpus ēkas vai ēkā, </a:t>
              </a:r>
              <a:r>
                <a:rPr lang="lv-LV" sz="1200" b="0" i="0">
                  <a:solidFill>
                    <a:srgbClr val="212529"/>
                  </a:solidFill>
                  <a:effectLst/>
                </a:rPr>
                <a:t>zvaniet </a:t>
              </a:r>
              <a:r>
                <a:rPr lang="lv-LV" sz="1200" b="1" i="0">
                  <a:solidFill>
                    <a:srgbClr val="A8192D"/>
                  </a:solidFill>
                  <a:effectLst/>
                </a:rPr>
                <a:t>112.</a:t>
              </a:r>
              <a:endParaRPr lang="lv-LV" sz="1200" b="0" i="0">
                <a:solidFill>
                  <a:srgbClr val="212529"/>
                </a:solidFill>
                <a:effectLst/>
              </a:endParaRPr>
            </a:p>
          </p:txBody>
        </p:sp>
        <p:sp>
          <p:nvSpPr>
            <p:cNvPr id="30" name="Rectangle 29">
              <a:extLst>
                <a:ext uri="{FF2B5EF4-FFF2-40B4-BE49-F238E27FC236}">
                  <a16:creationId xmlns:a16="http://schemas.microsoft.com/office/drawing/2014/main" id="{56DDD360-1244-D50F-C2A3-BC5980E6824B}"/>
                </a:ext>
              </a:extLst>
            </p:cNvPr>
            <p:cNvSpPr/>
            <p:nvPr/>
          </p:nvSpPr>
          <p:spPr>
            <a:xfrm>
              <a:off x="5160559" y="1823905"/>
              <a:ext cx="576263" cy="709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1" name="L-Shape 30">
              <a:extLst>
                <a:ext uri="{FF2B5EF4-FFF2-40B4-BE49-F238E27FC236}">
                  <a16:creationId xmlns:a16="http://schemas.microsoft.com/office/drawing/2014/main" id="{49EBE8B0-7F9A-2D45-0F8F-7DE8A1AA4190}"/>
                </a:ext>
              </a:extLst>
            </p:cNvPr>
            <p:cNvSpPr/>
            <p:nvPr/>
          </p:nvSpPr>
          <p:spPr>
            <a:xfrm rot="13500000">
              <a:off x="5283427" y="2042117"/>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32" name="Straight Connector 31">
            <a:extLst>
              <a:ext uri="{FF2B5EF4-FFF2-40B4-BE49-F238E27FC236}">
                <a16:creationId xmlns:a16="http://schemas.microsoft.com/office/drawing/2014/main" id="{6FB9FF39-FB37-F7B7-7BB8-D586ABC87424}"/>
              </a:ext>
            </a:extLst>
          </p:cNvPr>
          <p:cNvCxnSpPr>
            <a:cxnSpLocks/>
          </p:cNvCxnSpPr>
          <p:nvPr/>
        </p:nvCxnSpPr>
        <p:spPr>
          <a:xfrm>
            <a:off x="5822025" y="3778608"/>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3" name="Straight Connector 32">
            <a:extLst>
              <a:ext uri="{FF2B5EF4-FFF2-40B4-BE49-F238E27FC236}">
                <a16:creationId xmlns:a16="http://schemas.microsoft.com/office/drawing/2014/main" id="{EE8A2E9F-E0AC-CE3E-DCBA-C0CF411D77C5}"/>
              </a:ext>
            </a:extLst>
          </p:cNvPr>
          <p:cNvCxnSpPr>
            <a:cxnSpLocks/>
          </p:cNvCxnSpPr>
          <p:nvPr/>
        </p:nvCxnSpPr>
        <p:spPr>
          <a:xfrm>
            <a:off x="5822025" y="5406492"/>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110" name="Group 109">
            <a:extLst>
              <a:ext uri="{FF2B5EF4-FFF2-40B4-BE49-F238E27FC236}">
                <a16:creationId xmlns:a16="http://schemas.microsoft.com/office/drawing/2014/main" id="{D8639795-6572-1F0E-36C4-49C46A91FCF9}"/>
              </a:ext>
            </a:extLst>
          </p:cNvPr>
          <p:cNvGrpSpPr/>
          <p:nvPr/>
        </p:nvGrpSpPr>
        <p:grpSpPr>
          <a:xfrm>
            <a:off x="5160559" y="4649059"/>
            <a:ext cx="6571068" cy="709200"/>
            <a:chOff x="5160559" y="4611454"/>
            <a:chExt cx="6571068" cy="709200"/>
          </a:xfrm>
        </p:grpSpPr>
        <p:sp>
          <p:nvSpPr>
            <p:cNvPr id="34" name="Rectangle 33">
              <a:extLst>
                <a:ext uri="{FF2B5EF4-FFF2-40B4-BE49-F238E27FC236}">
                  <a16:creationId xmlns:a16="http://schemas.microsoft.com/office/drawing/2014/main" id="{12F0F6C0-438D-3E18-23F6-612713CE2115}"/>
                </a:ext>
              </a:extLst>
            </p:cNvPr>
            <p:cNvSpPr/>
            <p:nvPr/>
          </p:nvSpPr>
          <p:spPr>
            <a:xfrm>
              <a:off x="5821364" y="4764707"/>
              <a:ext cx="5910263"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iespējams, aizsedziet degunu un muti ar kādu samitrinātu materiālu. Tas filtrēs dūmus un elpot būs vieglāk.</a:t>
              </a:r>
            </a:p>
          </p:txBody>
        </p:sp>
        <p:sp>
          <p:nvSpPr>
            <p:cNvPr id="35" name="Rectangle 34">
              <a:extLst>
                <a:ext uri="{FF2B5EF4-FFF2-40B4-BE49-F238E27FC236}">
                  <a16:creationId xmlns:a16="http://schemas.microsoft.com/office/drawing/2014/main" id="{3D6C46D7-181F-52AF-3604-AEBDF87FDBC8}"/>
                </a:ext>
              </a:extLst>
            </p:cNvPr>
            <p:cNvSpPr/>
            <p:nvPr/>
          </p:nvSpPr>
          <p:spPr>
            <a:xfrm>
              <a:off x="5160559" y="4611454"/>
              <a:ext cx="576263" cy="709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6" name="L-Shape 35">
              <a:extLst>
                <a:ext uri="{FF2B5EF4-FFF2-40B4-BE49-F238E27FC236}">
                  <a16:creationId xmlns:a16="http://schemas.microsoft.com/office/drawing/2014/main" id="{E483E423-3961-DBAA-6FBD-63911D4A69DD}"/>
                </a:ext>
              </a:extLst>
            </p:cNvPr>
            <p:cNvSpPr/>
            <p:nvPr/>
          </p:nvSpPr>
          <p:spPr>
            <a:xfrm rot="13500000">
              <a:off x="5283427" y="482966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37" name="Straight Connector 36">
            <a:extLst>
              <a:ext uri="{FF2B5EF4-FFF2-40B4-BE49-F238E27FC236}">
                <a16:creationId xmlns:a16="http://schemas.microsoft.com/office/drawing/2014/main" id="{CF5AD291-53EC-695B-A24D-BBB181836C29}"/>
              </a:ext>
            </a:extLst>
          </p:cNvPr>
          <p:cNvCxnSpPr>
            <a:cxnSpLocks/>
          </p:cNvCxnSpPr>
          <p:nvPr/>
        </p:nvCxnSpPr>
        <p:spPr>
          <a:xfrm>
            <a:off x="5822025" y="4592550"/>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38" name="Group 37">
            <a:extLst>
              <a:ext uri="{FF2B5EF4-FFF2-40B4-BE49-F238E27FC236}">
                <a16:creationId xmlns:a16="http://schemas.microsoft.com/office/drawing/2014/main" id="{2EB1887D-221C-E4B7-8417-096219E6162D}"/>
              </a:ext>
            </a:extLst>
          </p:cNvPr>
          <p:cNvGrpSpPr/>
          <p:nvPr/>
        </p:nvGrpSpPr>
        <p:grpSpPr>
          <a:xfrm>
            <a:off x="440760" y="4279553"/>
            <a:ext cx="4378695" cy="576000"/>
            <a:chOff x="440760" y="4295676"/>
            <a:chExt cx="4378695" cy="576000"/>
          </a:xfrm>
        </p:grpSpPr>
        <p:sp>
          <p:nvSpPr>
            <p:cNvPr id="39" name="Rectangle 38">
              <a:extLst>
                <a:ext uri="{FF2B5EF4-FFF2-40B4-BE49-F238E27FC236}">
                  <a16:creationId xmlns:a16="http://schemas.microsoft.com/office/drawing/2014/main" id="{42044179-A7C4-A21E-8EB7-F8E783F23B44}"/>
                </a:ext>
              </a:extLst>
            </p:cNvPr>
            <p:cNvSpPr/>
            <p:nvPr/>
          </p:nvSpPr>
          <p:spPr>
            <a:xfrm>
              <a:off x="440760" y="4295676"/>
              <a:ext cx="373180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fi-FI" sz="1600" b="1">
                  <a:solidFill>
                    <a:schemeClr val="bg1"/>
                  </a:solidFill>
                </a:rPr>
                <a:t>Ja nevar</a:t>
              </a:r>
              <a:r>
                <a:rPr lang="lv-LV" sz="1600" b="1" err="1">
                  <a:solidFill>
                    <a:schemeClr val="bg1"/>
                  </a:solidFill>
                </a:rPr>
                <a:t>at</a:t>
              </a:r>
              <a:r>
                <a:rPr lang="fi-FI" sz="1600" b="1">
                  <a:solidFill>
                    <a:schemeClr val="bg1"/>
                  </a:solidFill>
                </a:rPr>
                <a:t> izkļūt no telpas:</a:t>
              </a:r>
            </a:p>
          </p:txBody>
        </p:sp>
        <p:grpSp>
          <p:nvGrpSpPr>
            <p:cNvPr id="40" name="Group 39">
              <a:extLst>
                <a:ext uri="{FF2B5EF4-FFF2-40B4-BE49-F238E27FC236}">
                  <a16:creationId xmlns:a16="http://schemas.microsoft.com/office/drawing/2014/main" id="{370C27F8-9725-3DD4-FB9B-9677E9941B68}"/>
                </a:ext>
              </a:extLst>
            </p:cNvPr>
            <p:cNvGrpSpPr/>
            <p:nvPr/>
          </p:nvGrpSpPr>
          <p:grpSpPr>
            <a:xfrm>
              <a:off x="4172567" y="4295676"/>
              <a:ext cx="646888" cy="576000"/>
              <a:chOff x="10365507" y="1819275"/>
              <a:chExt cx="646888" cy="576000"/>
            </a:xfrm>
          </p:grpSpPr>
          <p:sp>
            <p:nvSpPr>
              <p:cNvPr id="41" name="Rectangle 40">
                <a:extLst>
                  <a:ext uri="{FF2B5EF4-FFF2-40B4-BE49-F238E27FC236}">
                    <a16:creationId xmlns:a16="http://schemas.microsoft.com/office/drawing/2014/main" id="{9632B7FD-1405-7102-7EF8-8DFD4FC32F96}"/>
                  </a:ext>
                </a:extLst>
              </p:cNvPr>
              <p:cNvSpPr/>
              <p:nvPr/>
            </p:nvSpPr>
            <p:spPr>
              <a:xfrm>
                <a:off x="10436395"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42" name="Rectangle 41">
                <a:extLst>
                  <a:ext uri="{FF2B5EF4-FFF2-40B4-BE49-F238E27FC236}">
                    <a16:creationId xmlns:a16="http://schemas.microsoft.com/office/drawing/2014/main" id="{30D50E05-C7F7-47E3-AD41-5DFB232A0F53}"/>
                  </a:ext>
                </a:extLst>
              </p:cNvPr>
              <p:cNvSpPr/>
              <p:nvPr/>
            </p:nvSpPr>
            <p:spPr>
              <a:xfrm>
                <a:off x="10365507"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43" name="Google Shape;1770;p93">
                <a:extLst>
                  <a:ext uri="{FF2B5EF4-FFF2-40B4-BE49-F238E27FC236}">
                    <a16:creationId xmlns:a16="http://schemas.microsoft.com/office/drawing/2014/main" id="{62FE14F5-3264-56DA-B41B-6618760D6BFA}"/>
                  </a:ext>
                </a:extLst>
              </p:cNvPr>
              <p:cNvGrpSpPr/>
              <p:nvPr/>
            </p:nvGrpSpPr>
            <p:grpSpPr>
              <a:xfrm>
                <a:off x="10580362" y="1963275"/>
                <a:ext cx="287998" cy="288000"/>
                <a:chOff x="7461366" y="2560815"/>
                <a:chExt cx="457200" cy="457200"/>
              </a:xfrm>
              <a:solidFill>
                <a:schemeClr val="bg1"/>
              </a:solidFill>
            </p:grpSpPr>
            <p:grpSp>
              <p:nvGrpSpPr>
                <p:cNvPr id="44" name="Google Shape;1771;p93">
                  <a:extLst>
                    <a:ext uri="{FF2B5EF4-FFF2-40B4-BE49-F238E27FC236}">
                      <a16:creationId xmlns:a16="http://schemas.microsoft.com/office/drawing/2014/main" id="{7F26F8BC-AA95-3BD5-F84B-20FE27DC8B59}"/>
                    </a:ext>
                  </a:extLst>
                </p:cNvPr>
                <p:cNvGrpSpPr/>
                <p:nvPr/>
              </p:nvGrpSpPr>
              <p:grpSpPr>
                <a:xfrm>
                  <a:off x="7461366" y="2560815"/>
                  <a:ext cx="457200" cy="457200"/>
                  <a:chOff x="7461366" y="2560815"/>
                  <a:chExt cx="457200" cy="457200"/>
                </a:xfrm>
                <a:grpFill/>
              </p:grpSpPr>
              <p:sp>
                <p:nvSpPr>
                  <p:cNvPr id="48" name="Google Shape;1772;p93">
                    <a:extLst>
                      <a:ext uri="{FF2B5EF4-FFF2-40B4-BE49-F238E27FC236}">
                        <a16:creationId xmlns:a16="http://schemas.microsoft.com/office/drawing/2014/main" id="{C6FD9AA1-7752-5B19-449C-335C52BCAE8E}"/>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49" name="Google Shape;1773;p93">
                    <a:extLst>
                      <a:ext uri="{FF2B5EF4-FFF2-40B4-BE49-F238E27FC236}">
                        <a16:creationId xmlns:a16="http://schemas.microsoft.com/office/drawing/2014/main" id="{387EFBA1-B2F1-6EF4-6CB9-794049C807C4}"/>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3" name="Google Shape;1774;p93">
                    <a:extLst>
                      <a:ext uri="{FF2B5EF4-FFF2-40B4-BE49-F238E27FC236}">
                        <a16:creationId xmlns:a16="http://schemas.microsoft.com/office/drawing/2014/main" id="{F0E3A50C-1868-8AED-90C2-95CED2A8795B}"/>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5" name="Google Shape;1775;p93">
                    <a:extLst>
                      <a:ext uri="{FF2B5EF4-FFF2-40B4-BE49-F238E27FC236}">
                        <a16:creationId xmlns:a16="http://schemas.microsoft.com/office/drawing/2014/main" id="{1D0F5AB7-159C-F40C-C6DB-E6178C1DDB62}"/>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46" name="Google Shape;1776;p93">
                  <a:extLst>
                    <a:ext uri="{FF2B5EF4-FFF2-40B4-BE49-F238E27FC236}">
                      <a16:creationId xmlns:a16="http://schemas.microsoft.com/office/drawing/2014/main" id="{79923EC4-5561-B1C6-F26F-59167A1DD5EC}"/>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grpSp>
      <p:cxnSp>
        <p:nvCxnSpPr>
          <p:cNvPr id="56" name="Straight Connector 55">
            <a:extLst>
              <a:ext uri="{FF2B5EF4-FFF2-40B4-BE49-F238E27FC236}">
                <a16:creationId xmlns:a16="http://schemas.microsoft.com/office/drawing/2014/main" id="{580FC50D-4710-A5D4-477D-599F2A77B01F}"/>
              </a:ext>
            </a:extLst>
          </p:cNvPr>
          <p:cNvCxnSpPr>
            <a:cxnSpLocks/>
          </p:cNvCxnSpPr>
          <p:nvPr/>
        </p:nvCxnSpPr>
        <p:spPr>
          <a:xfrm>
            <a:off x="1202862" y="5528426"/>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7" name="Rectangle 56">
            <a:extLst>
              <a:ext uri="{FF2B5EF4-FFF2-40B4-BE49-F238E27FC236}">
                <a16:creationId xmlns:a16="http://schemas.microsoft.com/office/drawing/2014/main" id="{3C0183CD-5845-05C7-D216-BF050B7282B4}"/>
              </a:ext>
            </a:extLst>
          </p:cNvPr>
          <p:cNvSpPr/>
          <p:nvPr/>
        </p:nvSpPr>
        <p:spPr>
          <a:xfrm>
            <a:off x="442913" y="5599981"/>
            <a:ext cx="576263" cy="57221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981760B5-459C-03C6-72A8-E29D8F60AF71}"/>
              </a:ext>
            </a:extLst>
          </p:cNvPr>
          <p:cNvSpPr/>
          <p:nvPr/>
        </p:nvSpPr>
        <p:spPr>
          <a:xfrm rot="13500000">
            <a:off x="565781" y="574970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9" name="Rectangle 58">
            <a:extLst>
              <a:ext uri="{FF2B5EF4-FFF2-40B4-BE49-F238E27FC236}">
                <a16:creationId xmlns:a16="http://schemas.microsoft.com/office/drawing/2014/main" id="{832B2F95-73B0-29EB-38D5-C0F7E24D784C}"/>
              </a:ext>
            </a:extLst>
          </p:cNvPr>
          <p:cNvSpPr/>
          <p:nvPr/>
        </p:nvSpPr>
        <p:spPr>
          <a:xfrm>
            <a:off x="1086395" y="5604476"/>
            <a:ext cx="3839733" cy="56772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durvis ir karstas, aizbāziet durvju</a:t>
            </a:r>
            <a:r>
              <a:rPr lang="lv-LV" sz="1200">
                <a:solidFill>
                  <a:srgbClr val="212529"/>
                </a:solidFill>
              </a:rPr>
              <a:t> </a:t>
            </a:r>
            <a:r>
              <a:rPr lang="lv-LV" sz="1200" b="0" i="0">
                <a:solidFill>
                  <a:srgbClr val="212529"/>
                </a:solidFill>
                <a:effectLst/>
              </a:rPr>
              <a:t>spraugas. </a:t>
            </a:r>
            <a:r>
              <a:rPr lang="lv-LV" sz="1200" b="1" i="0">
                <a:solidFill>
                  <a:srgbClr val="A8192D"/>
                </a:solidFill>
                <a:effectLst/>
              </a:rPr>
              <a:t>Atcerieties! </a:t>
            </a:r>
            <a:r>
              <a:rPr lang="lv-LV" sz="1200" b="0" i="0">
                <a:solidFill>
                  <a:srgbClr val="A8192D"/>
                </a:solidFill>
                <a:effectLst/>
              </a:rPr>
              <a:t>Šim nolūkam vislabāk kalpos mitri dvieļi, segas. Noderēs arī palagi, drēbes</a:t>
            </a:r>
            <a:r>
              <a:rPr lang="lv-LV" sz="1200" b="0" i="0">
                <a:solidFill>
                  <a:srgbClr val="212529"/>
                </a:solidFill>
                <a:effectLst/>
              </a:rPr>
              <a:t>.</a:t>
            </a:r>
          </a:p>
        </p:txBody>
      </p:sp>
      <p:grpSp>
        <p:nvGrpSpPr>
          <p:cNvPr id="97" name="Group 96">
            <a:extLst>
              <a:ext uri="{FF2B5EF4-FFF2-40B4-BE49-F238E27FC236}">
                <a16:creationId xmlns:a16="http://schemas.microsoft.com/office/drawing/2014/main" id="{40F4994B-1145-82B6-EC02-E5C9CCEE65F7}"/>
              </a:ext>
            </a:extLst>
          </p:cNvPr>
          <p:cNvGrpSpPr/>
          <p:nvPr/>
        </p:nvGrpSpPr>
        <p:grpSpPr>
          <a:xfrm>
            <a:off x="5160559" y="2637847"/>
            <a:ext cx="6588529" cy="1092528"/>
            <a:chOff x="5160559" y="2600141"/>
            <a:chExt cx="6588529" cy="1092528"/>
          </a:xfrm>
        </p:grpSpPr>
        <p:sp>
          <p:nvSpPr>
            <p:cNvPr id="60" name="Rectangle 59">
              <a:extLst>
                <a:ext uri="{FF2B5EF4-FFF2-40B4-BE49-F238E27FC236}">
                  <a16:creationId xmlns:a16="http://schemas.microsoft.com/office/drawing/2014/main" id="{69AC082A-899D-C3B0-421D-F82747759664}"/>
                </a:ext>
              </a:extLst>
            </p:cNvPr>
            <p:cNvSpPr/>
            <p:nvPr/>
          </p:nvSpPr>
          <p:spPr>
            <a:xfrm>
              <a:off x="5821364" y="2675658"/>
              <a:ext cx="5927724" cy="94190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200">
                  <a:solidFill>
                    <a:srgbClr val="212529"/>
                  </a:solidFill>
                </a:rPr>
                <a:t>Ja telpā ir neliels sadūmojums, rāpojiet</a:t>
              </a:r>
              <a:r>
                <a:rPr lang="lv-LV" sz="1200" b="0" i="0">
                  <a:solidFill>
                    <a:srgbClr val="212529"/>
                  </a:solidFill>
                  <a:effectLst/>
                </a:rPr>
                <a:t> pie loga, lēnām paveriet to vaļā un sauciet "palīgā</a:t>
              </a:r>
              <a:r>
                <a:rPr lang="lv-LV" sz="1200">
                  <a:solidFill>
                    <a:srgbClr val="212529"/>
                  </a:solidFill>
                </a:rPr>
                <a:t>!" </a:t>
              </a:r>
              <a:r>
                <a:rPr lang="lv-LV" sz="1200">
                  <a:solidFill>
                    <a:schemeClr val="tx1"/>
                  </a:solidFill>
                </a:rPr>
                <a:t>un citos veidos pievērsiet sev uzmanību.</a:t>
              </a:r>
              <a:r>
                <a:rPr lang="lv-LV" sz="1200" b="0" i="0">
                  <a:solidFill>
                    <a:schemeClr val="tx1"/>
                  </a:solidFill>
                  <a:effectLst/>
                </a:rPr>
                <a:t> </a:t>
              </a:r>
              <a:r>
                <a:rPr lang="lv-LV" sz="1200" b="1" i="0">
                  <a:solidFill>
                    <a:srgbClr val="A8192D"/>
                  </a:solidFill>
                  <a:effectLst/>
                </a:rPr>
                <a:t>Atcerieties! </a:t>
              </a:r>
              <a:r>
                <a:rPr lang="lv-LV" sz="1200" b="0" i="0">
                  <a:solidFill>
                    <a:srgbClr val="A8192D"/>
                  </a:solidFill>
                  <a:effectLst/>
                </a:rPr>
                <a:t>Atverot logu pilnīgi, radīsies caurvējš, kas veicinās dūmu pieplūdumu istabā.</a:t>
              </a:r>
              <a:r>
                <a:rPr lang="lv-LV" sz="1200" b="0" i="0">
                  <a:solidFill>
                    <a:srgbClr val="212529"/>
                  </a:solidFill>
                  <a:effectLst/>
                </a:rPr>
                <a:t> Paturiet prātā, ka tikai galējas nepieciešamības gadījumā drīkst atvērt logu pilnīgi vai izsist stiklu. Atverot logu pilnīgi vaļā vai izsitot stiklu, dūmi telpā var iekļūt arī no mājas ārpuses. Turklāt, ja stikls būs izsists, vairs nebūs iespējas logu aizvērt.</a:t>
              </a:r>
            </a:p>
          </p:txBody>
        </p:sp>
        <p:sp>
          <p:nvSpPr>
            <p:cNvPr id="61" name="Rectangle 60">
              <a:extLst>
                <a:ext uri="{FF2B5EF4-FFF2-40B4-BE49-F238E27FC236}">
                  <a16:creationId xmlns:a16="http://schemas.microsoft.com/office/drawing/2014/main" id="{3E9975CB-98C1-D63F-B31F-2DF004165B9A}"/>
                </a:ext>
              </a:extLst>
            </p:cNvPr>
            <p:cNvSpPr/>
            <p:nvPr/>
          </p:nvSpPr>
          <p:spPr>
            <a:xfrm>
              <a:off x="5160559" y="2600141"/>
              <a:ext cx="576263" cy="109252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5" name="L-Shape 64">
              <a:extLst>
                <a:ext uri="{FF2B5EF4-FFF2-40B4-BE49-F238E27FC236}">
                  <a16:creationId xmlns:a16="http://schemas.microsoft.com/office/drawing/2014/main" id="{AB29024C-E5B6-39F7-7184-9CA1F128ECD5}"/>
                </a:ext>
              </a:extLst>
            </p:cNvPr>
            <p:cNvSpPr/>
            <p:nvPr/>
          </p:nvSpPr>
          <p:spPr>
            <a:xfrm rot="13500000">
              <a:off x="5283427" y="301001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69" name="Straight Connector 68">
            <a:extLst>
              <a:ext uri="{FF2B5EF4-FFF2-40B4-BE49-F238E27FC236}">
                <a16:creationId xmlns:a16="http://schemas.microsoft.com/office/drawing/2014/main" id="{62ADF71A-913A-C361-3477-FA98B60521EE}"/>
              </a:ext>
            </a:extLst>
          </p:cNvPr>
          <p:cNvCxnSpPr>
            <a:cxnSpLocks/>
          </p:cNvCxnSpPr>
          <p:nvPr/>
        </p:nvCxnSpPr>
        <p:spPr>
          <a:xfrm>
            <a:off x="5822025" y="2581338"/>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109" name="Group 108">
            <a:extLst>
              <a:ext uri="{FF2B5EF4-FFF2-40B4-BE49-F238E27FC236}">
                <a16:creationId xmlns:a16="http://schemas.microsoft.com/office/drawing/2014/main" id="{3DDF5F00-935D-4285-798A-D647982E65FB}"/>
              </a:ext>
            </a:extLst>
          </p:cNvPr>
          <p:cNvGrpSpPr/>
          <p:nvPr/>
        </p:nvGrpSpPr>
        <p:grpSpPr>
          <a:xfrm>
            <a:off x="5160559" y="3835117"/>
            <a:ext cx="6571068" cy="709200"/>
            <a:chOff x="5160559" y="3759910"/>
            <a:chExt cx="6571068" cy="709200"/>
          </a:xfrm>
        </p:grpSpPr>
        <p:sp>
          <p:nvSpPr>
            <p:cNvPr id="70" name="Rectangle 69">
              <a:extLst>
                <a:ext uri="{FF2B5EF4-FFF2-40B4-BE49-F238E27FC236}">
                  <a16:creationId xmlns:a16="http://schemas.microsoft.com/office/drawing/2014/main" id="{7207570D-6BC3-69BD-FC5C-45A6B952F966}"/>
                </a:ext>
              </a:extLst>
            </p:cNvPr>
            <p:cNvSpPr/>
            <p:nvPr/>
          </p:nvSpPr>
          <p:spPr>
            <a:xfrm>
              <a:off x="5821364" y="3913163"/>
              <a:ext cx="5910263"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Turieties zemu pie loga, tas ļaus elpot svaigu gaisu no ārpuses un izvairīties no dūmiem, kas lēnām piepildīs istabu.</a:t>
              </a:r>
            </a:p>
          </p:txBody>
        </p:sp>
        <p:sp>
          <p:nvSpPr>
            <p:cNvPr id="71" name="Rectangle 70">
              <a:extLst>
                <a:ext uri="{FF2B5EF4-FFF2-40B4-BE49-F238E27FC236}">
                  <a16:creationId xmlns:a16="http://schemas.microsoft.com/office/drawing/2014/main" id="{8AD510F6-20D5-AA5F-1048-A914947DAD38}"/>
                </a:ext>
              </a:extLst>
            </p:cNvPr>
            <p:cNvSpPr/>
            <p:nvPr/>
          </p:nvSpPr>
          <p:spPr>
            <a:xfrm>
              <a:off x="5160559" y="3759910"/>
              <a:ext cx="576263" cy="709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7" name="L-Shape 76">
              <a:extLst>
                <a:ext uri="{FF2B5EF4-FFF2-40B4-BE49-F238E27FC236}">
                  <a16:creationId xmlns:a16="http://schemas.microsoft.com/office/drawing/2014/main" id="{3432C0A4-405D-441A-EB86-A22F12BE4238}"/>
                </a:ext>
              </a:extLst>
            </p:cNvPr>
            <p:cNvSpPr/>
            <p:nvPr/>
          </p:nvSpPr>
          <p:spPr>
            <a:xfrm rot="13500000">
              <a:off x="5283427" y="397812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78" name="Rectangle 77">
            <a:extLst>
              <a:ext uri="{FF2B5EF4-FFF2-40B4-BE49-F238E27FC236}">
                <a16:creationId xmlns:a16="http://schemas.microsoft.com/office/drawing/2014/main" id="{BE3E5224-9CA3-6737-AB60-A9BC8A74B53B}"/>
              </a:ext>
            </a:extLst>
          </p:cNvPr>
          <p:cNvSpPr/>
          <p:nvPr/>
        </p:nvSpPr>
        <p:spPr>
          <a:xfrm>
            <a:off x="1086395" y="2469872"/>
            <a:ext cx="3839153" cy="8136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uztaustot durvis, jūtiet, ka tās nav karstas, mazliet paveriet tās un pārliecinieties, vai ārpusē nav dūmi un uguns.</a:t>
            </a:r>
          </a:p>
        </p:txBody>
      </p:sp>
      <p:sp>
        <p:nvSpPr>
          <p:cNvPr id="79" name="Rectangle 78">
            <a:extLst>
              <a:ext uri="{FF2B5EF4-FFF2-40B4-BE49-F238E27FC236}">
                <a16:creationId xmlns:a16="http://schemas.microsoft.com/office/drawing/2014/main" id="{439A9964-36BC-352E-237D-2106921EBD2A}"/>
              </a:ext>
            </a:extLst>
          </p:cNvPr>
          <p:cNvSpPr/>
          <p:nvPr/>
        </p:nvSpPr>
        <p:spPr>
          <a:xfrm>
            <a:off x="442913" y="2469872"/>
            <a:ext cx="576263" cy="81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5A219F35-D58F-CAEF-157C-5D3E3F42A40E}"/>
              </a:ext>
            </a:extLst>
          </p:cNvPr>
          <p:cNvSpPr/>
          <p:nvPr/>
        </p:nvSpPr>
        <p:spPr>
          <a:xfrm rot="13500000">
            <a:off x="565782" y="274208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5" name="Rectangle 84">
            <a:extLst>
              <a:ext uri="{FF2B5EF4-FFF2-40B4-BE49-F238E27FC236}">
                <a16:creationId xmlns:a16="http://schemas.microsoft.com/office/drawing/2014/main" id="{08B6BEF4-3A2A-EA8B-9B23-1077D45E646B}"/>
              </a:ext>
            </a:extLst>
          </p:cNvPr>
          <p:cNvSpPr/>
          <p:nvPr/>
        </p:nvSpPr>
        <p:spPr>
          <a:xfrm>
            <a:off x="1086395" y="3526541"/>
            <a:ext cx="3839153" cy="62831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spc="-20">
                <a:solidFill>
                  <a:srgbClr val="212529"/>
                </a:solidFill>
                <a:effectLst/>
              </a:rPr>
              <a:t>Kad atstājat istabu, aizveriet durvis. Tas mazinās uguns izplatību un aizsargās īpašumu.</a:t>
            </a:r>
          </a:p>
        </p:txBody>
      </p:sp>
      <p:sp>
        <p:nvSpPr>
          <p:cNvPr id="86" name="Rectangle 85">
            <a:extLst>
              <a:ext uri="{FF2B5EF4-FFF2-40B4-BE49-F238E27FC236}">
                <a16:creationId xmlns:a16="http://schemas.microsoft.com/office/drawing/2014/main" id="{7DBFE9F6-0EC2-4655-B74B-264807A61F4D}"/>
              </a:ext>
            </a:extLst>
          </p:cNvPr>
          <p:cNvSpPr/>
          <p:nvPr/>
        </p:nvSpPr>
        <p:spPr>
          <a:xfrm>
            <a:off x="442913" y="3428594"/>
            <a:ext cx="576263" cy="78099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7" name="L-Shape 86">
            <a:extLst>
              <a:ext uri="{FF2B5EF4-FFF2-40B4-BE49-F238E27FC236}">
                <a16:creationId xmlns:a16="http://schemas.microsoft.com/office/drawing/2014/main" id="{B1411005-2AD1-BD0C-EC52-E1836D2C47CA}"/>
              </a:ext>
            </a:extLst>
          </p:cNvPr>
          <p:cNvSpPr/>
          <p:nvPr/>
        </p:nvSpPr>
        <p:spPr>
          <a:xfrm rot="13500000">
            <a:off x="565781" y="368270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Tree>
    <p:extLst>
      <p:ext uri="{BB962C8B-B14F-4D97-AF65-F5344CB8AC3E}">
        <p14:creationId xmlns:p14="http://schemas.microsoft.com/office/powerpoint/2010/main" val="397739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a:lstStyle/>
          <a:p>
            <a:r>
              <a:rPr lang="lv-LV"/>
              <a:t>Uzdevumi</a:t>
            </a:r>
            <a:endParaRPr lang="en-US"/>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a:lstStyle/>
          <a:p>
            <a:fld id="{7870704B-CE94-48CC-AF30-84932A1262A7}" type="slidenum">
              <a:rPr lang="en-GB" smtClean="0"/>
              <a:pPr/>
              <a:t>2</a:t>
            </a:fld>
            <a:endParaRPr lang="en-GB"/>
          </a:p>
        </p:txBody>
      </p:sp>
      <p:sp>
        <p:nvSpPr>
          <p:cNvPr id="3" name="TextBox 2">
            <a:extLst>
              <a:ext uri="{FF2B5EF4-FFF2-40B4-BE49-F238E27FC236}">
                <a16:creationId xmlns:a16="http://schemas.microsoft.com/office/drawing/2014/main" id="{4EF6DB77-182C-C281-1C2F-C2E2D9AB6583}"/>
              </a:ext>
            </a:extLst>
          </p:cNvPr>
          <p:cNvSpPr txBox="1"/>
          <p:nvPr/>
        </p:nvSpPr>
        <p:spPr>
          <a:xfrm>
            <a:off x="6268782" y="1813238"/>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600" dirty="0">
                <a:cs typeface="Arial"/>
              </a:rPr>
              <a:t>Izglītojamie:</a:t>
            </a:r>
          </a:p>
          <a:p>
            <a:pPr marL="742950" lvl="3" indent="-285750">
              <a:spcAft>
                <a:spcPts val="600"/>
              </a:spcAft>
              <a:buBlip>
                <a:blip r:embed="rId2"/>
              </a:buBlip>
            </a:pPr>
            <a:r>
              <a:rPr lang="en-GB" sz="1600" dirty="0">
                <a:cs typeface="Arial"/>
              </a:rPr>
              <a:t>zina </a:t>
            </a:r>
            <a:r>
              <a:rPr lang="en-GB" sz="1600" dirty="0" err="1">
                <a:cs typeface="Arial"/>
              </a:rPr>
              <a:t>rīcības</a:t>
            </a:r>
            <a:r>
              <a:rPr lang="en-GB" sz="1600" dirty="0">
                <a:cs typeface="Arial"/>
              </a:rPr>
              <a:t> </a:t>
            </a:r>
            <a:r>
              <a:rPr lang="en-GB" sz="1600" dirty="0" err="1">
                <a:cs typeface="Arial"/>
              </a:rPr>
              <a:t>algoritmus</a:t>
            </a:r>
            <a:r>
              <a:rPr lang="en-GB" sz="1600" dirty="0">
                <a:cs typeface="Arial"/>
              </a:rPr>
              <a:t> </a:t>
            </a:r>
            <a:r>
              <a:rPr lang="en-GB" sz="1600" dirty="0" err="1">
                <a:cs typeface="Arial"/>
              </a:rPr>
              <a:t>katastrofas</a:t>
            </a:r>
            <a:r>
              <a:rPr lang="en-GB" sz="1600" dirty="0">
                <a:cs typeface="Arial"/>
              </a:rPr>
              <a:t> </a:t>
            </a:r>
            <a:r>
              <a:rPr lang="en-GB" sz="1600" dirty="0" err="1">
                <a:cs typeface="Arial"/>
              </a:rPr>
              <a:t>gadījumā</a:t>
            </a:r>
            <a:r>
              <a:rPr lang="en-GB" sz="1600" dirty="0">
                <a:cs typeface="Arial"/>
              </a:rPr>
              <a:t>,</a:t>
            </a:r>
          </a:p>
          <a:p>
            <a:pPr marL="742950" lvl="3" indent="-285750">
              <a:spcAft>
                <a:spcPts val="600"/>
              </a:spcAft>
              <a:buBlip>
                <a:blip r:embed="rId2"/>
              </a:buBlip>
            </a:pPr>
            <a:r>
              <a:rPr lang="lv-LV" sz="1600" dirty="0">
                <a:cs typeface="Arial"/>
              </a:rPr>
              <a:t>a</a:t>
            </a:r>
            <a:r>
              <a:rPr lang="en-GB" sz="1600" dirty="0" err="1">
                <a:cs typeface="Arial"/>
              </a:rPr>
              <a:t>pzinās</a:t>
            </a:r>
            <a:r>
              <a:rPr lang="en-GB" sz="1600" dirty="0">
                <a:cs typeface="Arial"/>
              </a:rPr>
              <a:t> </a:t>
            </a:r>
            <a:r>
              <a:rPr lang="en-GB" sz="1600" dirty="0" err="1">
                <a:cs typeface="Arial"/>
              </a:rPr>
              <a:t>individuālās</a:t>
            </a:r>
            <a:r>
              <a:rPr lang="en-GB" sz="1600" dirty="0">
                <a:cs typeface="Arial"/>
              </a:rPr>
              <a:t> </a:t>
            </a:r>
            <a:r>
              <a:rPr lang="en-GB" sz="1600" dirty="0" err="1">
                <a:cs typeface="Arial"/>
              </a:rPr>
              <a:t>gatavības</a:t>
            </a:r>
            <a:r>
              <a:rPr lang="en-GB" sz="1600" dirty="0">
                <a:cs typeface="Arial"/>
              </a:rPr>
              <a:t> </a:t>
            </a:r>
            <a:r>
              <a:rPr lang="en-GB" sz="1600" dirty="0" err="1">
                <a:cs typeface="Arial"/>
              </a:rPr>
              <a:t>nozīmi</a:t>
            </a:r>
            <a:r>
              <a:rPr lang="en-GB" sz="1600" dirty="0">
                <a:cs typeface="Arial"/>
              </a:rPr>
              <a:t> un </a:t>
            </a:r>
            <a:r>
              <a:rPr lang="en-GB" sz="1600" dirty="0" err="1">
                <a:cs typeface="Arial"/>
              </a:rPr>
              <a:t>veicamās</a:t>
            </a:r>
            <a:r>
              <a:rPr lang="en-GB" sz="1600" dirty="0">
                <a:cs typeface="Arial"/>
              </a:rPr>
              <a:t> </a:t>
            </a:r>
            <a:r>
              <a:rPr lang="en-GB" sz="1600" dirty="0" err="1">
                <a:cs typeface="Arial"/>
              </a:rPr>
              <a:t>darbības</a:t>
            </a:r>
            <a:r>
              <a:rPr lang="en-GB" sz="1600" dirty="0">
                <a:cs typeface="Arial"/>
              </a:rPr>
              <a:t> </a:t>
            </a:r>
            <a:r>
              <a:rPr lang="en-GB" sz="1600" dirty="0" err="1">
                <a:cs typeface="Arial"/>
              </a:rPr>
              <a:t>tās</a:t>
            </a:r>
            <a:r>
              <a:rPr lang="en-GB" sz="1600" dirty="0">
                <a:cs typeface="Arial"/>
              </a:rPr>
              <a:t> </a:t>
            </a:r>
            <a:r>
              <a:rPr lang="en-GB" sz="1600" dirty="0" err="1">
                <a:cs typeface="Arial"/>
              </a:rPr>
              <a:t>sasniegšanai</a:t>
            </a:r>
            <a:r>
              <a:rPr lang="en-GB" sz="1600" dirty="0">
                <a:cs typeface="Arial"/>
              </a:rPr>
              <a:t>.</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09"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Iepazīstināt izglītojamos ar: </a:t>
            </a:r>
          </a:p>
          <a:p>
            <a:pPr marL="740664" indent="-285750">
              <a:spcAft>
                <a:spcPts val="600"/>
              </a:spcAft>
              <a:buBlip>
                <a:blip r:embed="rId2"/>
              </a:buBlip>
            </a:pPr>
            <a:r>
              <a:rPr lang="lv-LV" sz="1600">
                <a:cs typeface="Arial"/>
              </a:rPr>
              <a:t>rīcības algoritmiem katastrofas gadījumā.</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2911" y="4402207"/>
            <a:ext cx="11309609" cy="1769992"/>
          </a:xfrm>
          <a:prstGeom prst="rect">
            <a:avLst/>
          </a:prstGeom>
        </p:spPr>
      </p:pic>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1013037E-935B-A5CB-39B6-CB91F8A7E7BE}"/>
              </a:ext>
            </a:extLst>
          </p:cNvPr>
          <p:cNvGraphicFramePr>
            <a:graphicFrameLocks noChangeAspect="1"/>
          </p:cNvGraphicFramePr>
          <p:nvPr>
            <p:custDataLst>
              <p:tags r:id="rId1"/>
            </p:custDataLst>
            <p:extLst>
              <p:ext uri="{D42A27DB-BD31-4B8C-83A1-F6EECF244321}">
                <p14:modId xmlns:p14="http://schemas.microsoft.com/office/powerpoint/2010/main" val="4262503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2" name="think-cell data - do not delete" hidden="1">
                        <a:extLst>
                          <a:ext uri="{FF2B5EF4-FFF2-40B4-BE49-F238E27FC236}">
                            <a16:creationId xmlns:a16="http://schemas.microsoft.com/office/drawing/2014/main" id="{1013037E-935B-A5CB-39B6-CB91F8A7E7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tangle 44">
            <a:extLst>
              <a:ext uri="{FF2B5EF4-FFF2-40B4-BE49-F238E27FC236}">
                <a16:creationId xmlns:a16="http://schemas.microsoft.com/office/drawing/2014/main" id="{4066550C-0902-1D56-5FEF-C451D7B8B7C3}"/>
              </a:ext>
            </a:extLst>
          </p:cNvPr>
          <p:cNvSpPr/>
          <p:nvPr/>
        </p:nvSpPr>
        <p:spPr>
          <a:xfrm>
            <a:off x="6813334" y="3961847"/>
            <a:ext cx="4948238"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Saudzīgi izvelciet cietušo no automašīnas.</a:t>
            </a:r>
            <a:endParaRPr lang="lv-LV" sz="1200" b="0" i="0">
              <a:solidFill>
                <a:schemeClr val="tx1"/>
              </a:solidFill>
              <a:effectLst/>
            </a:endParaRPr>
          </a:p>
        </p:txBody>
      </p:sp>
      <p:sp>
        <p:nvSpPr>
          <p:cNvPr id="44" name="TextBox 43">
            <a:extLst>
              <a:ext uri="{FF2B5EF4-FFF2-40B4-BE49-F238E27FC236}">
                <a16:creationId xmlns:a16="http://schemas.microsoft.com/office/drawing/2014/main" id="{221BB2F2-B9CC-88CF-A57E-DC6071DDD22F}"/>
              </a:ext>
            </a:extLst>
          </p:cNvPr>
          <p:cNvSpPr txBox="1"/>
          <p:nvPr/>
        </p:nvSpPr>
        <p:spPr>
          <a:xfrm>
            <a:off x="442912" y="2492553"/>
            <a:ext cx="11306175" cy="692659"/>
          </a:xfrm>
          <a:prstGeom prst="rect">
            <a:avLst/>
          </a:prstGeom>
          <a:solidFill>
            <a:schemeClr val="bg1">
              <a:lumMod val="95000"/>
            </a:schemeClr>
          </a:solidFill>
        </p:spPr>
        <p:txBody>
          <a:bodyPr wrap="square" lIns="72000" tIns="72000" rIns="144000" bIns="72000" numCol="2" rtlCol="0" anchor="ctr">
            <a:noAutofit/>
          </a:bodyPr>
          <a:lstStyle/>
          <a:p>
            <a:pPr marL="285750" indent="-285750">
              <a:spcAft>
                <a:spcPts val="300"/>
              </a:spcAft>
              <a:buSzPct val="100000"/>
              <a:buBlip>
                <a:blip r:embed="rId6"/>
              </a:buBlip>
            </a:pPr>
            <a:r>
              <a:rPr lang="lv-LV" sz="1200" kern="100" spc="10">
                <a:cs typeface="Times New Roman"/>
              </a:rPr>
              <a:t>Apstādiniet savu automašīnu drošā attālumā no negadījuma vietas.</a:t>
            </a:r>
          </a:p>
          <a:p>
            <a:pPr marL="285750" indent="-285750">
              <a:spcAft>
                <a:spcPts val="300"/>
              </a:spcAft>
              <a:buSzPct val="100000"/>
              <a:buBlip>
                <a:blip r:embed="rId6"/>
              </a:buBlip>
            </a:pPr>
            <a:r>
              <a:rPr lang="lv-LV" sz="1200" kern="100" spc="10">
                <a:cs typeface="Times New Roman"/>
              </a:rPr>
              <a:t>Ieslēdziet savas automašīnas avārijas gaismas signalizāciju.</a:t>
            </a:r>
          </a:p>
          <a:p>
            <a:pPr marL="285750" indent="-285750">
              <a:spcAft>
                <a:spcPts val="300"/>
              </a:spcAft>
              <a:buSzPct val="100000"/>
              <a:buBlip>
                <a:blip r:embed="rId6"/>
              </a:buBlip>
            </a:pPr>
            <a:r>
              <a:rPr lang="lv-LV" sz="1200" kern="100" spc="10">
                <a:cs typeface="Times New Roman"/>
              </a:rPr>
              <a:t>Paņemiet automašīnas aptieciņu, avārijas zīmi.</a:t>
            </a:r>
          </a:p>
          <a:p>
            <a:pPr marL="285750" indent="-285750">
              <a:spcAft>
                <a:spcPts val="300"/>
              </a:spcAft>
              <a:buSzPct val="100000"/>
              <a:buBlip>
                <a:blip r:embed="rId6"/>
              </a:buBlip>
            </a:pPr>
            <a:r>
              <a:rPr lang="lv-LV" sz="1200" kern="100" spc="10">
                <a:cs typeface="Times New Roman"/>
              </a:rPr>
              <a:t>Novietojiet avārijas zīmi nepieciešamajā attālumā no negadījuma vietas.</a:t>
            </a:r>
          </a:p>
          <a:p>
            <a:pPr marL="285750" indent="-285750">
              <a:spcAft>
                <a:spcPts val="300"/>
              </a:spcAft>
              <a:buSzPct val="100000"/>
              <a:buBlip>
                <a:blip r:embed="rId6"/>
              </a:buBlip>
            </a:pPr>
            <a:r>
              <a:rPr lang="lv-LV" sz="1200" kern="100" spc="10">
                <a:cs typeface="Times New Roman"/>
              </a:rPr>
              <a:t>Dodieties uz negadījuma vietu.</a:t>
            </a:r>
          </a:p>
        </p:txBody>
      </p:sp>
      <p:sp>
        <p:nvSpPr>
          <p:cNvPr id="50" name="Rectangle 49">
            <a:extLst>
              <a:ext uri="{FF2B5EF4-FFF2-40B4-BE49-F238E27FC236}">
                <a16:creationId xmlns:a16="http://schemas.microsoft.com/office/drawing/2014/main" id="{1E384B44-88CC-8F76-E9AF-DBDBDD24EECE}"/>
              </a:ext>
            </a:extLst>
          </p:cNvPr>
          <p:cNvSpPr/>
          <p:nvPr/>
        </p:nvSpPr>
        <p:spPr>
          <a:xfrm>
            <a:off x="442913" y="3283647"/>
            <a:ext cx="5606063"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 cietušajam nepieciešama palīdzība</a:t>
            </a:r>
            <a:r>
              <a:rPr lang="fi-FI" sz="1600" b="1"/>
              <a:t>:</a:t>
            </a:r>
          </a:p>
        </p:txBody>
      </p:sp>
      <p:sp>
        <p:nvSpPr>
          <p:cNvPr id="61" name="Rectangle 60">
            <a:extLst>
              <a:ext uri="{FF2B5EF4-FFF2-40B4-BE49-F238E27FC236}">
                <a16:creationId xmlns:a16="http://schemas.microsoft.com/office/drawing/2014/main" id="{36EC9590-1EE1-4A70-E132-4F25FB2A166A}"/>
              </a:ext>
            </a:extLst>
          </p:cNvPr>
          <p:cNvSpPr/>
          <p:nvPr/>
        </p:nvSpPr>
        <p:spPr>
          <a:xfrm>
            <a:off x="5472975" y="3283647"/>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2" name="Rectangle 61">
            <a:extLst>
              <a:ext uri="{FF2B5EF4-FFF2-40B4-BE49-F238E27FC236}">
                <a16:creationId xmlns:a16="http://schemas.microsoft.com/office/drawing/2014/main" id="{2807FCC7-6EAD-0C0D-B605-03EEAC731F8C}"/>
              </a:ext>
            </a:extLst>
          </p:cNvPr>
          <p:cNvSpPr/>
          <p:nvPr/>
        </p:nvSpPr>
        <p:spPr>
          <a:xfrm>
            <a:off x="5401531" y="3283647"/>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Autotransporta avārija</a:t>
            </a:r>
            <a:br>
              <a:rPr lang="lv-LV"/>
            </a:br>
            <a:r>
              <a:rPr lang="lv-LV">
                <a:solidFill>
                  <a:srgbClr val="A8192D"/>
                </a:solidFill>
              </a:rPr>
              <a:t>Kā rīkoties?</a:t>
            </a:r>
            <a:endParaRPr lang="en-GB"/>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0</a:t>
            </a:fld>
            <a:endParaRPr lang="en-GB"/>
          </a:p>
        </p:txBody>
      </p:sp>
      <p:sp>
        <p:nvSpPr>
          <p:cNvPr id="36" name="Rectangle 35">
            <a:extLst>
              <a:ext uri="{FF2B5EF4-FFF2-40B4-BE49-F238E27FC236}">
                <a16:creationId xmlns:a16="http://schemas.microsoft.com/office/drawing/2014/main" id="{3C145E88-345E-DEB9-9ABA-4CC30EEE55EB}"/>
              </a:ext>
            </a:extLst>
          </p:cNvPr>
          <p:cNvSpPr/>
          <p:nvPr/>
        </p:nvSpPr>
        <p:spPr>
          <a:xfrm>
            <a:off x="1100138" y="3961847"/>
            <a:ext cx="4948837"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I</a:t>
            </a:r>
            <a:r>
              <a:rPr lang="lv-LV" sz="1200" b="0" i="0">
                <a:solidFill>
                  <a:schemeClr val="tx1"/>
                </a:solidFill>
                <a:effectLst/>
              </a:rPr>
              <a:t>zsauciet Neatliekamo palīdzību, zvanot 113.</a:t>
            </a:r>
          </a:p>
        </p:txBody>
      </p:sp>
      <p:sp>
        <p:nvSpPr>
          <p:cNvPr id="14" name="Rectangle 13">
            <a:extLst>
              <a:ext uri="{FF2B5EF4-FFF2-40B4-BE49-F238E27FC236}">
                <a16:creationId xmlns:a16="http://schemas.microsoft.com/office/drawing/2014/main" id="{4B888F26-7D1A-CA27-B5A8-6248A7263371}"/>
              </a:ext>
            </a:extLst>
          </p:cNvPr>
          <p:cNvSpPr/>
          <p:nvPr/>
        </p:nvSpPr>
        <p:spPr>
          <a:xfrm>
            <a:off x="1100138" y="4882130"/>
            <a:ext cx="4513261"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Nekustiniet, nepārvietojiet cietušo pats! Neļaujiet cietušo kustināt citiem!</a:t>
            </a:r>
            <a:endParaRPr lang="lv-LV" sz="1200" b="0" i="0">
              <a:solidFill>
                <a:schemeClr val="tx1"/>
              </a:solidFill>
              <a:effectLst/>
            </a:endParaRPr>
          </a:p>
        </p:txBody>
      </p:sp>
      <p:cxnSp>
        <p:nvCxnSpPr>
          <p:cNvPr id="17" name="Straight Connector 16">
            <a:extLst>
              <a:ext uri="{FF2B5EF4-FFF2-40B4-BE49-F238E27FC236}">
                <a16:creationId xmlns:a16="http://schemas.microsoft.com/office/drawing/2014/main" id="{3613A840-4E6D-FAE5-4D8C-5E63294A7644}"/>
              </a:ext>
            </a:extLst>
          </p:cNvPr>
          <p:cNvCxnSpPr>
            <a:cxnSpLocks/>
          </p:cNvCxnSpPr>
          <p:nvPr/>
        </p:nvCxnSpPr>
        <p:spPr>
          <a:xfrm>
            <a:off x="1100138" y="5752085"/>
            <a:ext cx="494823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8" name="Rectangle 17">
            <a:extLst>
              <a:ext uri="{FF2B5EF4-FFF2-40B4-BE49-F238E27FC236}">
                <a16:creationId xmlns:a16="http://schemas.microsoft.com/office/drawing/2014/main" id="{257A3C35-39C9-A4E6-1837-31F170B2C97A}"/>
              </a:ext>
            </a:extLst>
          </p:cNvPr>
          <p:cNvSpPr/>
          <p:nvPr/>
        </p:nvSpPr>
        <p:spPr>
          <a:xfrm>
            <a:off x="1100138" y="4426336"/>
            <a:ext cx="4513261"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Atstājiet cietušo automašīnas salonā.</a:t>
            </a:r>
            <a:endParaRPr lang="lv-LV" sz="1200" b="0" i="0">
              <a:solidFill>
                <a:schemeClr val="tx1"/>
              </a:solidFill>
              <a:effectLst/>
            </a:endParaRPr>
          </a:p>
        </p:txBody>
      </p:sp>
      <p:cxnSp>
        <p:nvCxnSpPr>
          <p:cNvPr id="21" name="Straight Connector 20">
            <a:extLst>
              <a:ext uri="{FF2B5EF4-FFF2-40B4-BE49-F238E27FC236}">
                <a16:creationId xmlns:a16="http://schemas.microsoft.com/office/drawing/2014/main" id="{F3097C31-51F2-D5F8-7426-0A669C9D933B}"/>
              </a:ext>
            </a:extLst>
          </p:cNvPr>
          <p:cNvCxnSpPr>
            <a:cxnSpLocks/>
          </p:cNvCxnSpPr>
          <p:nvPr/>
        </p:nvCxnSpPr>
        <p:spPr>
          <a:xfrm flipV="1">
            <a:off x="1100137" y="4376008"/>
            <a:ext cx="4948838" cy="12549"/>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BDC99A0B-8AB3-4918-5B31-2F9C4926A28C}"/>
              </a:ext>
            </a:extLst>
          </p:cNvPr>
          <p:cNvSpPr/>
          <p:nvPr/>
        </p:nvSpPr>
        <p:spPr>
          <a:xfrm>
            <a:off x="1100138" y="5337924"/>
            <a:ext cx="4513261"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Sniedziet nepieciešamo palīdzību.</a:t>
            </a:r>
            <a:endParaRPr lang="lv-LV" sz="1200" b="1" i="0">
              <a:solidFill>
                <a:schemeClr val="tx1"/>
              </a:solidFill>
              <a:effectLst/>
            </a:endParaRPr>
          </a:p>
        </p:txBody>
      </p:sp>
      <p:cxnSp>
        <p:nvCxnSpPr>
          <p:cNvPr id="31" name="Straight Connector 30">
            <a:extLst>
              <a:ext uri="{FF2B5EF4-FFF2-40B4-BE49-F238E27FC236}">
                <a16:creationId xmlns:a16="http://schemas.microsoft.com/office/drawing/2014/main" id="{A23283C8-AC46-8F65-599C-AE50F7F5ECCA}"/>
              </a:ext>
            </a:extLst>
          </p:cNvPr>
          <p:cNvCxnSpPr>
            <a:cxnSpLocks/>
          </p:cNvCxnSpPr>
          <p:nvPr/>
        </p:nvCxnSpPr>
        <p:spPr>
          <a:xfrm>
            <a:off x="1100138" y="5296291"/>
            <a:ext cx="49482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642FDFF0-C1EF-2DFC-03F4-C85494893547}"/>
              </a:ext>
            </a:extLst>
          </p:cNvPr>
          <p:cNvSpPr/>
          <p:nvPr/>
        </p:nvSpPr>
        <p:spPr>
          <a:xfrm>
            <a:off x="1100137" y="5795818"/>
            <a:ext cx="4513261"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Aprūpējiet, nomieriniet cietušo.</a:t>
            </a:r>
            <a:endParaRPr lang="lv-LV" sz="1200" b="0" i="0">
              <a:solidFill>
                <a:schemeClr val="tx1"/>
              </a:solidFill>
              <a:effectLst/>
            </a:endParaRPr>
          </a:p>
        </p:txBody>
      </p:sp>
      <p:cxnSp>
        <p:nvCxnSpPr>
          <p:cNvPr id="4" name="Straight Connector 3">
            <a:extLst>
              <a:ext uri="{FF2B5EF4-FFF2-40B4-BE49-F238E27FC236}">
                <a16:creationId xmlns:a16="http://schemas.microsoft.com/office/drawing/2014/main" id="{A34C0450-1485-CB4E-D4F8-1B9D567AB1FF}"/>
              </a:ext>
            </a:extLst>
          </p:cNvPr>
          <p:cNvCxnSpPr>
            <a:cxnSpLocks/>
          </p:cNvCxnSpPr>
          <p:nvPr/>
        </p:nvCxnSpPr>
        <p:spPr>
          <a:xfrm>
            <a:off x="1100138" y="4840497"/>
            <a:ext cx="49482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59" name="Group 58">
            <a:extLst>
              <a:ext uri="{FF2B5EF4-FFF2-40B4-BE49-F238E27FC236}">
                <a16:creationId xmlns:a16="http://schemas.microsoft.com/office/drawing/2014/main" id="{A2D8173F-DACF-868F-6FB5-E46D199D1108}"/>
              </a:ext>
            </a:extLst>
          </p:cNvPr>
          <p:cNvGrpSpPr/>
          <p:nvPr/>
        </p:nvGrpSpPr>
        <p:grpSpPr>
          <a:xfrm>
            <a:off x="442913" y="3942229"/>
            <a:ext cx="576263" cy="396000"/>
            <a:chOff x="442913" y="3617840"/>
            <a:chExt cx="576263" cy="396000"/>
          </a:xfrm>
        </p:grpSpPr>
        <p:sp>
          <p:nvSpPr>
            <p:cNvPr id="26" name="Rectangle 25">
              <a:extLst>
                <a:ext uri="{FF2B5EF4-FFF2-40B4-BE49-F238E27FC236}">
                  <a16:creationId xmlns:a16="http://schemas.microsoft.com/office/drawing/2014/main" id="{F0CB5772-83FD-A70A-A885-67FCEEE49754}"/>
                </a:ext>
              </a:extLst>
            </p:cNvPr>
            <p:cNvSpPr/>
            <p:nvPr/>
          </p:nvSpPr>
          <p:spPr>
            <a:xfrm>
              <a:off x="442913" y="361784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9" name="L-Shape 8">
              <a:extLst>
                <a:ext uri="{FF2B5EF4-FFF2-40B4-BE49-F238E27FC236}">
                  <a16:creationId xmlns:a16="http://schemas.microsoft.com/office/drawing/2014/main" id="{9EBB1D1E-6449-913E-E858-C48CC79A35B7}"/>
                </a:ext>
              </a:extLst>
            </p:cNvPr>
            <p:cNvSpPr/>
            <p:nvPr/>
          </p:nvSpPr>
          <p:spPr>
            <a:xfrm rot="13500000">
              <a:off x="559307" y="367945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grpSp>
      <p:grpSp>
        <p:nvGrpSpPr>
          <p:cNvPr id="63" name="Group 62">
            <a:extLst>
              <a:ext uri="{FF2B5EF4-FFF2-40B4-BE49-F238E27FC236}">
                <a16:creationId xmlns:a16="http://schemas.microsoft.com/office/drawing/2014/main" id="{97936D15-04C6-0FF4-62D8-3693BC9B12D5}"/>
              </a:ext>
            </a:extLst>
          </p:cNvPr>
          <p:cNvGrpSpPr/>
          <p:nvPr/>
        </p:nvGrpSpPr>
        <p:grpSpPr>
          <a:xfrm>
            <a:off x="442913" y="4859215"/>
            <a:ext cx="576263" cy="396000"/>
            <a:chOff x="442913" y="4697020"/>
            <a:chExt cx="576263" cy="396000"/>
          </a:xfrm>
        </p:grpSpPr>
        <p:sp>
          <p:nvSpPr>
            <p:cNvPr id="51" name="Rectangle 50">
              <a:extLst>
                <a:ext uri="{FF2B5EF4-FFF2-40B4-BE49-F238E27FC236}">
                  <a16:creationId xmlns:a16="http://schemas.microsoft.com/office/drawing/2014/main" id="{459753F3-41F3-63B5-45E4-F3B58708C5B6}"/>
                </a:ext>
              </a:extLst>
            </p:cNvPr>
            <p:cNvSpPr/>
            <p:nvPr/>
          </p:nvSpPr>
          <p:spPr>
            <a:xfrm>
              <a:off x="442913" y="469702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11" name="L-Shape 10">
              <a:extLst>
                <a:ext uri="{FF2B5EF4-FFF2-40B4-BE49-F238E27FC236}">
                  <a16:creationId xmlns:a16="http://schemas.microsoft.com/office/drawing/2014/main" id="{2699A53A-B3BD-81F5-62B1-E1AFB84CBAF9}"/>
                </a:ext>
              </a:extLst>
            </p:cNvPr>
            <p:cNvSpPr/>
            <p:nvPr/>
          </p:nvSpPr>
          <p:spPr>
            <a:xfrm rot="13500000">
              <a:off x="559307" y="47586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grpSp>
      <p:grpSp>
        <p:nvGrpSpPr>
          <p:cNvPr id="65" name="Group 64">
            <a:extLst>
              <a:ext uri="{FF2B5EF4-FFF2-40B4-BE49-F238E27FC236}">
                <a16:creationId xmlns:a16="http://schemas.microsoft.com/office/drawing/2014/main" id="{3BF264F6-D537-4009-FDCC-211EB9D18E3D}"/>
              </a:ext>
            </a:extLst>
          </p:cNvPr>
          <p:cNvGrpSpPr/>
          <p:nvPr/>
        </p:nvGrpSpPr>
        <p:grpSpPr>
          <a:xfrm>
            <a:off x="442913" y="5776200"/>
            <a:ext cx="576263" cy="396000"/>
            <a:chOff x="442913" y="5776200"/>
            <a:chExt cx="576263" cy="396000"/>
          </a:xfrm>
        </p:grpSpPr>
        <p:sp>
          <p:nvSpPr>
            <p:cNvPr id="15" name="Rectangle 14">
              <a:extLst>
                <a:ext uri="{FF2B5EF4-FFF2-40B4-BE49-F238E27FC236}">
                  <a16:creationId xmlns:a16="http://schemas.microsoft.com/office/drawing/2014/main" id="{9E0E0D22-42F4-802B-FD44-EDC127F0142C}"/>
                </a:ext>
              </a:extLst>
            </p:cNvPr>
            <p:cNvSpPr/>
            <p:nvPr/>
          </p:nvSpPr>
          <p:spPr>
            <a:xfrm>
              <a:off x="442913" y="577620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12" name="L-Shape 11">
              <a:extLst>
                <a:ext uri="{FF2B5EF4-FFF2-40B4-BE49-F238E27FC236}">
                  <a16:creationId xmlns:a16="http://schemas.microsoft.com/office/drawing/2014/main" id="{EEEC8714-4554-535F-5536-4371C6F9A1BA}"/>
                </a:ext>
              </a:extLst>
            </p:cNvPr>
            <p:cNvSpPr/>
            <p:nvPr/>
          </p:nvSpPr>
          <p:spPr>
            <a:xfrm rot="13500000">
              <a:off x="559307" y="5837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grpSp>
      <p:grpSp>
        <p:nvGrpSpPr>
          <p:cNvPr id="60" name="Group 59">
            <a:extLst>
              <a:ext uri="{FF2B5EF4-FFF2-40B4-BE49-F238E27FC236}">
                <a16:creationId xmlns:a16="http://schemas.microsoft.com/office/drawing/2014/main" id="{DB2F02E6-88C6-80B0-1B6A-C8B7D79ABA4B}"/>
              </a:ext>
            </a:extLst>
          </p:cNvPr>
          <p:cNvGrpSpPr/>
          <p:nvPr/>
        </p:nvGrpSpPr>
        <p:grpSpPr>
          <a:xfrm>
            <a:off x="442913" y="4400722"/>
            <a:ext cx="576263" cy="396000"/>
            <a:chOff x="442913" y="4157430"/>
            <a:chExt cx="576263" cy="396000"/>
          </a:xfrm>
        </p:grpSpPr>
        <p:sp>
          <p:nvSpPr>
            <p:cNvPr id="47" name="Rectangle 46">
              <a:extLst>
                <a:ext uri="{FF2B5EF4-FFF2-40B4-BE49-F238E27FC236}">
                  <a16:creationId xmlns:a16="http://schemas.microsoft.com/office/drawing/2014/main" id="{DE28A1F8-05E1-2D2E-5F4B-FFE030D33C0D}"/>
                </a:ext>
              </a:extLst>
            </p:cNvPr>
            <p:cNvSpPr/>
            <p:nvPr/>
          </p:nvSpPr>
          <p:spPr>
            <a:xfrm>
              <a:off x="442913" y="415743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13" name="L-Shape 12">
              <a:extLst>
                <a:ext uri="{FF2B5EF4-FFF2-40B4-BE49-F238E27FC236}">
                  <a16:creationId xmlns:a16="http://schemas.microsoft.com/office/drawing/2014/main" id="{3F193BB6-564F-7ED4-20BE-73BF54343CE7}"/>
                </a:ext>
              </a:extLst>
            </p:cNvPr>
            <p:cNvSpPr/>
            <p:nvPr/>
          </p:nvSpPr>
          <p:spPr>
            <a:xfrm rot="13500000">
              <a:off x="559307" y="421904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grpSp>
      <p:grpSp>
        <p:nvGrpSpPr>
          <p:cNvPr id="64" name="Group 63">
            <a:extLst>
              <a:ext uri="{FF2B5EF4-FFF2-40B4-BE49-F238E27FC236}">
                <a16:creationId xmlns:a16="http://schemas.microsoft.com/office/drawing/2014/main" id="{FABC2044-1612-B9D1-07DF-B817B0296220}"/>
              </a:ext>
            </a:extLst>
          </p:cNvPr>
          <p:cNvGrpSpPr/>
          <p:nvPr/>
        </p:nvGrpSpPr>
        <p:grpSpPr>
          <a:xfrm>
            <a:off x="442913" y="5317708"/>
            <a:ext cx="576263" cy="396000"/>
            <a:chOff x="442913" y="5236610"/>
            <a:chExt cx="576263" cy="396000"/>
          </a:xfrm>
        </p:grpSpPr>
        <p:sp>
          <p:nvSpPr>
            <p:cNvPr id="34" name="Rectangle 33">
              <a:extLst>
                <a:ext uri="{FF2B5EF4-FFF2-40B4-BE49-F238E27FC236}">
                  <a16:creationId xmlns:a16="http://schemas.microsoft.com/office/drawing/2014/main" id="{31E65DFA-47A0-4AD8-6B27-3C86CFB7284A}"/>
                </a:ext>
              </a:extLst>
            </p:cNvPr>
            <p:cNvSpPr/>
            <p:nvPr/>
          </p:nvSpPr>
          <p:spPr>
            <a:xfrm>
              <a:off x="442913" y="523661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16" name="L-Shape 15">
              <a:extLst>
                <a:ext uri="{FF2B5EF4-FFF2-40B4-BE49-F238E27FC236}">
                  <a16:creationId xmlns:a16="http://schemas.microsoft.com/office/drawing/2014/main" id="{DE200739-7B25-E26F-EE8E-B08BBC35C608}"/>
                </a:ext>
              </a:extLst>
            </p:cNvPr>
            <p:cNvSpPr/>
            <p:nvPr/>
          </p:nvSpPr>
          <p:spPr>
            <a:xfrm rot="13500000">
              <a:off x="559307" y="529822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grpSp>
      <p:sp>
        <p:nvSpPr>
          <p:cNvPr id="3" name="Rectangle 2">
            <a:extLst>
              <a:ext uri="{FF2B5EF4-FFF2-40B4-BE49-F238E27FC236}">
                <a16:creationId xmlns:a16="http://schemas.microsoft.com/office/drawing/2014/main" id="{A268024A-DC0D-DE3B-37CC-AEE3234C3F83}"/>
              </a:ext>
            </a:extLst>
          </p:cNvPr>
          <p:cNvSpPr/>
          <p:nvPr/>
        </p:nvSpPr>
        <p:spPr>
          <a:xfrm>
            <a:off x="442913" y="1823905"/>
            <a:ext cx="1129369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t>
            </a:r>
            <a:r>
              <a:rPr lang="fi-FI" sz="1600" b="1"/>
              <a:t>a </a:t>
            </a:r>
            <a:r>
              <a:rPr lang="lv-LV" sz="1600" b="1"/>
              <a:t>ieraugiet autoavāriju</a:t>
            </a:r>
            <a:r>
              <a:rPr lang="fi-FI" sz="1600" b="1"/>
              <a:t>:</a:t>
            </a:r>
          </a:p>
        </p:txBody>
      </p:sp>
      <p:sp>
        <p:nvSpPr>
          <p:cNvPr id="6" name="Rectangle 5">
            <a:extLst>
              <a:ext uri="{FF2B5EF4-FFF2-40B4-BE49-F238E27FC236}">
                <a16:creationId xmlns:a16="http://schemas.microsoft.com/office/drawing/2014/main" id="{983AD267-03AD-79C8-8999-E6021621B667}"/>
              </a:ext>
            </a:extLst>
          </p:cNvPr>
          <p:cNvSpPr/>
          <p:nvPr/>
        </p:nvSpPr>
        <p:spPr>
          <a:xfrm>
            <a:off x="11177106" y="182390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Rectangle 9">
            <a:extLst>
              <a:ext uri="{FF2B5EF4-FFF2-40B4-BE49-F238E27FC236}">
                <a16:creationId xmlns:a16="http://schemas.microsoft.com/office/drawing/2014/main" id="{C76A913E-7289-9E3A-C51B-8CBD1F74224F}"/>
              </a:ext>
            </a:extLst>
          </p:cNvPr>
          <p:cNvSpPr/>
          <p:nvPr/>
        </p:nvSpPr>
        <p:spPr>
          <a:xfrm>
            <a:off x="11114685" y="182390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Rectangle 29">
            <a:extLst>
              <a:ext uri="{FF2B5EF4-FFF2-40B4-BE49-F238E27FC236}">
                <a16:creationId xmlns:a16="http://schemas.microsoft.com/office/drawing/2014/main" id="{F76E7EB6-5E25-F7C4-DC4E-5A992D666613}"/>
              </a:ext>
            </a:extLst>
          </p:cNvPr>
          <p:cNvSpPr/>
          <p:nvPr/>
        </p:nvSpPr>
        <p:spPr>
          <a:xfrm>
            <a:off x="6143023" y="3283647"/>
            <a:ext cx="5606066"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solidFill>
                  <a:schemeClr val="tx1"/>
                </a:solidFill>
              </a:rPr>
              <a:t>Ja ir briesmas cietušā dzīvībai vai bezsamaņa</a:t>
            </a:r>
            <a:endParaRPr lang="fi-FI" sz="1600" b="1">
              <a:solidFill>
                <a:schemeClr val="tx1"/>
              </a:solidFill>
            </a:endParaRPr>
          </a:p>
        </p:txBody>
      </p:sp>
      <p:sp>
        <p:nvSpPr>
          <p:cNvPr id="33" name="Rectangle 32">
            <a:extLst>
              <a:ext uri="{FF2B5EF4-FFF2-40B4-BE49-F238E27FC236}">
                <a16:creationId xmlns:a16="http://schemas.microsoft.com/office/drawing/2014/main" id="{96371C03-F941-AC9F-7866-8EE9C582681C}"/>
              </a:ext>
            </a:extLst>
          </p:cNvPr>
          <p:cNvSpPr/>
          <p:nvPr/>
        </p:nvSpPr>
        <p:spPr>
          <a:xfrm>
            <a:off x="11173090" y="3283647"/>
            <a:ext cx="576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35" name="Rectangle 34">
            <a:extLst>
              <a:ext uri="{FF2B5EF4-FFF2-40B4-BE49-F238E27FC236}">
                <a16:creationId xmlns:a16="http://schemas.microsoft.com/office/drawing/2014/main" id="{A97BA22F-A403-7338-7FAA-6DB32194B5DD}"/>
              </a:ext>
            </a:extLst>
          </p:cNvPr>
          <p:cNvSpPr/>
          <p:nvPr/>
        </p:nvSpPr>
        <p:spPr>
          <a:xfrm>
            <a:off x="11102202" y="3283647"/>
            <a:ext cx="72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9" name="Straight Connector 38">
            <a:extLst>
              <a:ext uri="{FF2B5EF4-FFF2-40B4-BE49-F238E27FC236}">
                <a16:creationId xmlns:a16="http://schemas.microsoft.com/office/drawing/2014/main" id="{AB55B558-820C-E4B1-787D-B6F9981EC0AF}"/>
              </a:ext>
            </a:extLst>
          </p:cNvPr>
          <p:cNvCxnSpPr>
            <a:cxnSpLocks/>
          </p:cNvCxnSpPr>
          <p:nvPr/>
        </p:nvCxnSpPr>
        <p:spPr>
          <a:xfrm>
            <a:off x="6787934" y="4386969"/>
            <a:ext cx="494823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54" name="Group 53">
            <a:extLst>
              <a:ext uri="{FF2B5EF4-FFF2-40B4-BE49-F238E27FC236}">
                <a16:creationId xmlns:a16="http://schemas.microsoft.com/office/drawing/2014/main" id="{FB9EC3E5-FBE0-7A0D-B1C1-E4BE7C6837E7}"/>
              </a:ext>
            </a:extLst>
          </p:cNvPr>
          <p:cNvGrpSpPr/>
          <p:nvPr/>
        </p:nvGrpSpPr>
        <p:grpSpPr>
          <a:xfrm>
            <a:off x="6143023" y="4400722"/>
            <a:ext cx="576263" cy="396000"/>
            <a:chOff x="6578601" y="4292793"/>
            <a:chExt cx="576263" cy="396000"/>
          </a:xfrm>
        </p:grpSpPr>
        <p:sp>
          <p:nvSpPr>
            <p:cNvPr id="38" name="Rectangle 37">
              <a:extLst>
                <a:ext uri="{FF2B5EF4-FFF2-40B4-BE49-F238E27FC236}">
                  <a16:creationId xmlns:a16="http://schemas.microsoft.com/office/drawing/2014/main" id="{A54E2335-3C13-D6A9-AF3C-07D70F956A41}"/>
                </a:ext>
              </a:extLst>
            </p:cNvPr>
            <p:cNvSpPr/>
            <p:nvPr/>
          </p:nvSpPr>
          <p:spPr>
            <a:xfrm>
              <a:off x="6578601" y="4292793"/>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42" name="L-Shape 41">
              <a:extLst>
                <a:ext uri="{FF2B5EF4-FFF2-40B4-BE49-F238E27FC236}">
                  <a16:creationId xmlns:a16="http://schemas.microsoft.com/office/drawing/2014/main" id="{41D3FC09-2D51-267E-59F7-27F59C696785}"/>
                </a:ext>
              </a:extLst>
            </p:cNvPr>
            <p:cNvSpPr/>
            <p:nvPr/>
          </p:nvSpPr>
          <p:spPr>
            <a:xfrm rot="13500000">
              <a:off x="6694995" y="435440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grpSp>
      <p:grpSp>
        <p:nvGrpSpPr>
          <p:cNvPr id="40" name="Group 39">
            <a:extLst>
              <a:ext uri="{FF2B5EF4-FFF2-40B4-BE49-F238E27FC236}">
                <a16:creationId xmlns:a16="http://schemas.microsoft.com/office/drawing/2014/main" id="{1510A38A-171E-71CE-6DD5-94B0770A1C59}"/>
              </a:ext>
            </a:extLst>
          </p:cNvPr>
          <p:cNvGrpSpPr/>
          <p:nvPr/>
        </p:nvGrpSpPr>
        <p:grpSpPr>
          <a:xfrm>
            <a:off x="6143023" y="3942229"/>
            <a:ext cx="576263" cy="396000"/>
            <a:chOff x="6578601" y="3753203"/>
            <a:chExt cx="576263" cy="396000"/>
          </a:xfrm>
        </p:grpSpPr>
        <p:sp>
          <p:nvSpPr>
            <p:cNvPr id="41" name="Rectangle 40">
              <a:extLst>
                <a:ext uri="{FF2B5EF4-FFF2-40B4-BE49-F238E27FC236}">
                  <a16:creationId xmlns:a16="http://schemas.microsoft.com/office/drawing/2014/main" id="{0949E498-EF59-407D-0010-4B98988F2502}"/>
                </a:ext>
              </a:extLst>
            </p:cNvPr>
            <p:cNvSpPr/>
            <p:nvPr/>
          </p:nvSpPr>
          <p:spPr>
            <a:xfrm>
              <a:off x="6578601" y="3753203"/>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43" name="L-Shape 42">
              <a:extLst>
                <a:ext uri="{FF2B5EF4-FFF2-40B4-BE49-F238E27FC236}">
                  <a16:creationId xmlns:a16="http://schemas.microsoft.com/office/drawing/2014/main" id="{9275BB9C-FB65-111D-50E6-946CB29B3919}"/>
                </a:ext>
              </a:extLst>
            </p:cNvPr>
            <p:cNvSpPr/>
            <p:nvPr/>
          </p:nvSpPr>
          <p:spPr>
            <a:xfrm rot="13500000">
              <a:off x="6694995" y="381481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grpSp>
      <p:sp>
        <p:nvSpPr>
          <p:cNvPr id="46" name="Rectangle 45">
            <a:extLst>
              <a:ext uri="{FF2B5EF4-FFF2-40B4-BE49-F238E27FC236}">
                <a16:creationId xmlns:a16="http://schemas.microsoft.com/office/drawing/2014/main" id="{8956DEC4-FA0E-C1B5-6522-32AE1FEB0A48}"/>
              </a:ext>
            </a:extLst>
          </p:cNvPr>
          <p:cNvSpPr/>
          <p:nvPr/>
        </p:nvSpPr>
        <p:spPr>
          <a:xfrm>
            <a:off x="6813334" y="4426336"/>
            <a:ext cx="4948238"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Veiciet atdzīvināšanas pasākumus, ja nepieciešams.</a:t>
            </a:r>
            <a:endParaRPr lang="lv-LV" sz="1200" b="0" i="0">
              <a:solidFill>
                <a:schemeClr val="tx1"/>
              </a:solidFill>
              <a:effectLst/>
            </a:endParaRPr>
          </a:p>
        </p:txBody>
      </p:sp>
      <p:sp>
        <p:nvSpPr>
          <p:cNvPr id="66" name="Google Shape;2205;p101">
            <a:extLst>
              <a:ext uri="{FF2B5EF4-FFF2-40B4-BE49-F238E27FC236}">
                <a16:creationId xmlns:a16="http://schemas.microsoft.com/office/drawing/2014/main" id="{311DC8F8-3B76-07D6-492B-B2B359CDFC1C}"/>
              </a:ext>
            </a:extLst>
          </p:cNvPr>
          <p:cNvSpPr/>
          <p:nvPr/>
        </p:nvSpPr>
        <p:spPr>
          <a:xfrm>
            <a:off x="11321437" y="1968236"/>
            <a:ext cx="287338" cy="287338"/>
          </a:xfrm>
          <a:custGeom>
            <a:avLst/>
            <a:gdLst/>
            <a:ahLst/>
            <a:cxnLst/>
            <a:rect l="l" t="t" r="r" b="b"/>
            <a:pathLst>
              <a:path w="347" h="346" extrusionOk="0">
                <a:moveTo>
                  <a:pt x="0" y="0"/>
                </a:moveTo>
                <a:cubicBezTo>
                  <a:pt x="0" y="346"/>
                  <a:pt x="0" y="346"/>
                  <a:pt x="0" y="346"/>
                </a:cubicBezTo>
                <a:cubicBezTo>
                  <a:pt x="347" y="346"/>
                  <a:pt x="347" y="346"/>
                  <a:pt x="347" y="346"/>
                </a:cubicBezTo>
                <a:cubicBezTo>
                  <a:pt x="347" y="0"/>
                  <a:pt x="347" y="0"/>
                  <a:pt x="347"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95" y="94"/>
                </a:moveTo>
                <a:cubicBezTo>
                  <a:pt x="85" y="83"/>
                  <a:pt x="85" y="83"/>
                  <a:pt x="85" y="83"/>
                </a:cubicBezTo>
                <a:cubicBezTo>
                  <a:pt x="108" y="60"/>
                  <a:pt x="140" y="47"/>
                  <a:pt x="173" y="47"/>
                </a:cubicBezTo>
                <a:cubicBezTo>
                  <a:pt x="207" y="47"/>
                  <a:pt x="238" y="60"/>
                  <a:pt x="262" y="83"/>
                </a:cubicBezTo>
                <a:cubicBezTo>
                  <a:pt x="252" y="94"/>
                  <a:pt x="252" y="94"/>
                  <a:pt x="252" y="94"/>
                </a:cubicBezTo>
                <a:cubicBezTo>
                  <a:pt x="231" y="73"/>
                  <a:pt x="203" y="61"/>
                  <a:pt x="173" y="61"/>
                </a:cubicBezTo>
                <a:cubicBezTo>
                  <a:pt x="144" y="61"/>
                  <a:pt x="116" y="73"/>
                  <a:pt x="95" y="94"/>
                </a:cubicBezTo>
                <a:close/>
                <a:moveTo>
                  <a:pt x="223" y="122"/>
                </a:moveTo>
                <a:cubicBezTo>
                  <a:pt x="196" y="95"/>
                  <a:pt x="151" y="95"/>
                  <a:pt x="124" y="122"/>
                </a:cubicBezTo>
                <a:cubicBezTo>
                  <a:pt x="113" y="112"/>
                  <a:pt x="113" y="112"/>
                  <a:pt x="113" y="112"/>
                </a:cubicBezTo>
                <a:cubicBezTo>
                  <a:pt x="146" y="78"/>
                  <a:pt x="200" y="78"/>
                  <a:pt x="234" y="112"/>
                </a:cubicBezTo>
                <a:lnTo>
                  <a:pt x="223" y="122"/>
                </a:lnTo>
                <a:close/>
                <a:moveTo>
                  <a:pt x="141" y="139"/>
                </a:moveTo>
                <a:cubicBezTo>
                  <a:pt x="159" y="121"/>
                  <a:pt x="188" y="121"/>
                  <a:pt x="206" y="139"/>
                </a:cubicBezTo>
                <a:cubicBezTo>
                  <a:pt x="196" y="150"/>
                  <a:pt x="196" y="150"/>
                  <a:pt x="196" y="150"/>
                </a:cubicBezTo>
                <a:cubicBezTo>
                  <a:pt x="183" y="138"/>
                  <a:pt x="163" y="138"/>
                  <a:pt x="151" y="150"/>
                </a:cubicBezTo>
                <a:lnTo>
                  <a:pt x="141" y="139"/>
                </a:lnTo>
                <a:close/>
                <a:moveTo>
                  <a:pt x="99" y="318"/>
                </a:moveTo>
                <a:cubicBezTo>
                  <a:pt x="114" y="318"/>
                  <a:pt x="128" y="307"/>
                  <a:pt x="131" y="292"/>
                </a:cubicBezTo>
                <a:cubicBezTo>
                  <a:pt x="185" y="292"/>
                  <a:pt x="185" y="292"/>
                  <a:pt x="185" y="292"/>
                </a:cubicBezTo>
                <a:cubicBezTo>
                  <a:pt x="188" y="307"/>
                  <a:pt x="201" y="318"/>
                  <a:pt x="217" y="318"/>
                </a:cubicBezTo>
                <a:cubicBezTo>
                  <a:pt x="233" y="318"/>
                  <a:pt x="247" y="307"/>
                  <a:pt x="250" y="292"/>
                </a:cubicBezTo>
                <a:cubicBezTo>
                  <a:pt x="309" y="292"/>
                  <a:pt x="309" y="292"/>
                  <a:pt x="309" y="292"/>
                </a:cubicBezTo>
                <a:cubicBezTo>
                  <a:pt x="309" y="247"/>
                  <a:pt x="309" y="247"/>
                  <a:pt x="309" y="247"/>
                </a:cubicBezTo>
                <a:cubicBezTo>
                  <a:pt x="239" y="225"/>
                  <a:pt x="239" y="225"/>
                  <a:pt x="239" y="225"/>
                </a:cubicBezTo>
                <a:cubicBezTo>
                  <a:pt x="214" y="185"/>
                  <a:pt x="214" y="185"/>
                  <a:pt x="214" y="185"/>
                </a:cubicBezTo>
                <a:cubicBezTo>
                  <a:pt x="69" y="185"/>
                  <a:pt x="69" y="185"/>
                  <a:pt x="69" y="185"/>
                </a:cubicBezTo>
                <a:cubicBezTo>
                  <a:pt x="38" y="228"/>
                  <a:pt x="38" y="228"/>
                  <a:pt x="38" y="228"/>
                </a:cubicBezTo>
                <a:cubicBezTo>
                  <a:pt x="38" y="292"/>
                  <a:pt x="38" y="292"/>
                  <a:pt x="38" y="292"/>
                </a:cubicBezTo>
                <a:cubicBezTo>
                  <a:pt x="66" y="292"/>
                  <a:pt x="66" y="292"/>
                  <a:pt x="66" y="292"/>
                </a:cubicBezTo>
                <a:cubicBezTo>
                  <a:pt x="69" y="307"/>
                  <a:pt x="83" y="318"/>
                  <a:pt x="99" y="318"/>
                </a:cubicBezTo>
                <a:close/>
                <a:moveTo>
                  <a:pt x="99" y="303"/>
                </a:moveTo>
                <a:cubicBezTo>
                  <a:pt x="88" y="303"/>
                  <a:pt x="80" y="295"/>
                  <a:pt x="80" y="284"/>
                </a:cubicBezTo>
                <a:cubicBezTo>
                  <a:pt x="80" y="274"/>
                  <a:pt x="88" y="266"/>
                  <a:pt x="99" y="266"/>
                </a:cubicBezTo>
                <a:cubicBezTo>
                  <a:pt x="109" y="266"/>
                  <a:pt x="117" y="274"/>
                  <a:pt x="117" y="284"/>
                </a:cubicBezTo>
                <a:cubicBezTo>
                  <a:pt x="117" y="295"/>
                  <a:pt x="109" y="303"/>
                  <a:pt x="99" y="303"/>
                </a:cubicBezTo>
                <a:close/>
                <a:moveTo>
                  <a:pt x="217" y="303"/>
                </a:moveTo>
                <a:cubicBezTo>
                  <a:pt x="207" y="303"/>
                  <a:pt x="199" y="295"/>
                  <a:pt x="199" y="284"/>
                </a:cubicBezTo>
                <a:cubicBezTo>
                  <a:pt x="199" y="274"/>
                  <a:pt x="207" y="266"/>
                  <a:pt x="217" y="266"/>
                </a:cubicBezTo>
                <a:cubicBezTo>
                  <a:pt x="228" y="266"/>
                  <a:pt x="236" y="274"/>
                  <a:pt x="236" y="284"/>
                </a:cubicBezTo>
                <a:cubicBezTo>
                  <a:pt x="236" y="295"/>
                  <a:pt x="228" y="303"/>
                  <a:pt x="217" y="303"/>
                </a:cubicBezTo>
                <a:close/>
                <a:moveTo>
                  <a:pt x="52" y="233"/>
                </a:moveTo>
                <a:cubicBezTo>
                  <a:pt x="77" y="200"/>
                  <a:pt x="77" y="200"/>
                  <a:pt x="77" y="200"/>
                </a:cubicBezTo>
                <a:cubicBezTo>
                  <a:pt x="206" y="200"/>
                  <a:pt x="206" y="200"/>
                  <a:pt x="206" y="200"/>
                </a:cubicBezTo>
                <a:cubicBezTo>
                  <a:pt x="230" y="237"/>
                  <a:pt x="230" y="237"/>
                  <a:pt x="230" y="237"/>
                </a:cubicBezTo>
                <a:cubicBezTo>
                  <a:pt x="294" y="258"/>
                  <a:pt x="294" y="258"/>
                  <a:pt x="294" y="258"/>
                </a:cubicBezTo>
                <a:cubicBezTo>
                  <a:pt x="294" y="277"/>
                  <a:pt x="294" y="277"/>
                  <a:pt x="294" y="277"/>
                </a:cubicBezTo>
                <a:cubicBezTo>
                  <a:pt x="250" y="277"/>
                  <a:pt x="250" y="277"/>
                  <a:pt x="250" y="277"/>
                </a:cubicBezTo>
                <a:cubicBezTo>
                  <a:pt x="247" y="262"/>
                  <a:pt x="233" y="251"/>
                  <a:pt x="217" y="251"/>
                </a:cubicBezTo>
                <a:cubicBezTo>
                  <a:pt x="201" y="251"/>
                  <a:pt x="188" y="262"/>
                  <a:pt x="185" y="277"/>
                </a:cubicBezTo>
                <a:cubicBezTo>
                  <a:pt x="131" y="277"/>
                  <a:pt x="131" y="277"/>
                  <a:pt x="131" y="277"/>
                </a:cubicBezTo>
                <a:cubicBezTo>
                  <a:pt x="128" y="262"/>
                  <a:pt x="114" y="251"/>
                  <a:pt x="99" y="251"/>
                </a:cubicBezTo>
                <a:cubicBezTo>
                  <a:pt x="83" y="251"/>
                  <a:pt x="69" y="262"/>
                  <a:pt x="66" y="277"/>
                </a:cubicBezTo>
                <a:cubicBezTo>
                  <a:pt x="52" y="277"/>
                  <a:pt x="52" y="277"/>
                  <a:pt x="52" y="277"/>
                </a:cubicBezTo>
                <a:lnTo>
                  <a:pt x="52" y="233"/>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b="1">
              <a:solidFill>
                <a:schemeClr val="accent1"/>
              </a:solidFill>
              <a:latin typeface="Arial"/>
              <a:ea typeface="Arial"/>
              <a:cs typeface="Arial"/>
              <a:sym typeface="Arial"/>
            </a:endParaRPr>
          </a:p>
        </p:txBody>
      </p:sp>
      <p:grpSp>
        <p:nvGrpSpPr>
          <p:cNvPr id="70" name="Google Shape;1543;p92">
            <a:extLst>
              <a:ext uri="{FF2B5EF4-FFF2-40B4-BE49-F238E27FC236}">
                <a16:creationId xmlns:a16="http://schemas.microsoft.com/office/drawing/2014/main" id="{C548CE39-3DC4-D5FA-A033-B7FD0422CCCE}"/>
              </a:ext>
            </a:extLst>
          </p:cNvPr>
          <p:cNvGrpSpPr/>
          <p:nvPr/>
        </p:nvGrpSpPr>
        <p:grpSpPr>
          <a:xfrm>
            <a:off x="5617306" y="3427978"/>
            <a:ext cx="287338" cy="287338"/>
            <a:chOff x="11403518" y="3895566"/>
            <a:chExt cx="457200" cy="457200"/>
          </a:xfrm>
          <a:solidFill>
            <a:schemeClr val="bg1"/>
          </a:solidFill>
        </p:grpSpPr>
        <p:sp>
          <p:nvSpPr>
            <p:cNvPr id="71" name="Google Shape;1544;p92">
              <a:extLst>
                <a:ext uri="{FF2B5EF4-FFF2-40B4-BE49-F238E27FC236}">
                  <a16:creationId xmlns:a16="http://schemas.microsoft.com/office/drawing/2014/main" id="{7F475CC8-CB29-E6F3-46DC-2CBA94CC1D6D}"/>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2" name="Google Shape;1545;p92">
              <a:extLst>
                <a:ext uri="{FF2B5EF4-FFF2-40B4-BE49-F238E27FC236}">
                  <a16:creationId xmlns:a16="http://schemas.microsoft.com/office/drawing/2014/main" id="{FBBA7E35-1D32-0931-A15C-7B658CB45A39}"/>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grpSp>
        <p:nvGrpSpPr>
          <p:cNvPr id="73" name="Google Shape;1547;p92">
            <a:extLst>
              <a:ext uri="{FF2B5EF4-FFF2-40B4-BE49-F238E27FC236}">
                <a16:creationId xmlns:a16="http://schemas.microsoft.com/office/drawing/2014/main" id="{8889797C-5D55-F70E-ED5A-3C2A5594C1E1}"/>
              </a:ext>
            </a:extLst>
          </p:cNvPr>
          <p:cNvGrpSpPr/>
          <p:nvPr/>
        </p:nvGrpSpPr>
        <p:grpSpPr>
          <a:xfrm>
            <a:off x="11317421" y="3427978"/>
            <a:ext cx="287338" cy="287338"/>
            <a:chOff x="10418558" y="3895566"/>
            <a:chExt cx="457200" cy="457200"/>
          </a:xfrm>
          <a:solidFill>
            <a:schemeClr val="tx1"/>
          </a:solidFill>
        </p:grpSpPr>
        <p:sp>
          <p:nvSpPr>
            <p:cNvPr id="74" name="Google Shape;1548;p92">
              <a:extLst>
                <a:ext uri="{FF2B5EF4-FFF2-40B4-BE49-F238E27FC236}">
                  <a16:creationId xmlns:a16="http://schemas.microsoft.com/office/drawing/2014/main" id="{1B5C11DC-9CC4-AACF-F86E-787B98C1F008}"/>
                </a:ext>
              </a:extLst>
            </p:cNvPr>
            <p:cNvSpPr/>
            <p:nvPr/>
          </p:nvSpPr>
          <p:spPr>
            <a:xfrm>
              <a:off x="10418558"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5" name="Google Shape;1549;p92">
              <a:extLst>
                <a:ext uri="{FF2B5EF4-FFF2-40B4-BE49-F238E27FC236}">
                  <a16:creationId xmlns:a16="http://schemas.microsoft.com/office/drawing/2014/main" id="{A647699A-D39F-5958-7C0B-8EE0EC904398}"/>
                </a:ext>
              </a:extLst>
            </p:cNvPr>
            <p:cNvSpPr/>
            <p:nvPr/>
          </p:nvSpPr>
          <p:spPr>
            <a:xfrm>
              <a:off x="10476374" y="3976084"/>
              <a:ext cx="342011" cy="146208"/>
            </a:xfrm>
            <a:custGeom>
              <a:avLst/>
              <a:gdLst/>
              <a:ahLst/>
              <a:cxnLst/>
              <a:rect l="l" t="t" r="r" b="b"/>
              <a:pathLst>
                <a:path w="342011" h="146208" extrusionOk="0">
                  <a:moveTo>
                    <a:pt x="45402" y="146209"/>
                  </a:moveTo>
                  <a:lnTo>
                    <a:pt x="37433" y="137509"/>
                  </a:lnTo>
                  <a:lnTo>
                    <a:pt x="37179" y="137255"/>
                  </a:lnTo>
                  <a:lnTo>
                    <a:pt x="36894" y="136970"/>
                  </a:lnTo>
                  <a:cubicBezTo>
                    <a:pt x="26257" y="126143"/>
                    <a:pt x="21019" y="110331"/>
                    <a:pt x="21019" y="89948"/>
                  </a:cubicBezTo>
                  <a:cubicBezTo>
                    <a:pt x="20923" y="50705"/>
                    <a:pt x="49784" y="21082"/>
                    <a:pt x="88233" y="21082"/>
                  </a:cubicBezTo>
                  <a:cubicBezTo>
                    <a:pt x="117570" y="21082"/>
                    <a:pt x="142780" y="37814"/>
                    <a:pt x="150940" y="62738"/>
                  </a:cubicBezTo>
                  <a:lnTo>
                    <a:pt x="154908" y="75057"/>
                  </a:lnTo>
                  <a:lnTo>
                    <a:pt x="185198" y="75057"/>
                  </a:lnTo>
                  <a:lnTo>
                    <a:pt x="189833" y="65532"/>
                  </a:lnTo>
                  <a:cubicBezTo>
                    <a:pt x="204311" y="36068"/>
                    <a:pt x="225774" y="21082"/>
                    <a:pt x="253651" y="21082"/>
                  </a:cubicBezTo>
                  <a:cubicBezTo>
                    <a:pt x="291941" y="21082"/>
                    <a:pt x="320802" y="50641"/>
                    <a:pt x="320802" y="89884"/>
                  </a:cubicBezTo>
                  <a:cubicBezTo>
                    <a:pt x="320802" y="110268"/>
                    <a:pt x="315436" y="126079"/>
                    <a:pt x="304927" y="136906"/>
                  </a:cubicBezTo>
                  <a:lnTo>
                    <a:pt x="304641" y="137192"/>
                  </a:lnTo>
                  <a:lnTo>
                    <a:pt x="304387" y="137446"/>
                  </a:lnTo>
                  <a:lnTo>
                    <a:pt x="296450" y="146145"/>
                  </a:lnTo>
                  <a:lnTo>
                    <a:pt x="324771" y="146145"/>
                  </a:lnTo>
                  <a:cubicBezTo>
                    <a:pt x="337471" y="130080"/>
                    <a:pt x="342011" y="109982"/>
                    <a:pt x="342011" y="89884"/>
                  </a:cubicBezTo>
                  <a:cubicBezTo>
                    <a:pt x="342011" y="39338"/>
                    <a:pt x="303403" y="0"/>
                    <a:pt x="253778" y="0"/>
                  </a:cubicBezTo>
                  <a:cubicBezTo>
                    <a:pt x="215170" y="0"/>
                    <a:pt x="187611" y="22479"/>
                    <a:pt x="171228" y="56166"/>
                  </a:cubicBezTo>
                  <a:cubicBezTo>
                    <a:pt x="159766" y="22542"/>
                    <a:pt x="126683" y="63"/>
                    <a:pt x="88233" y="63"/>
                  </a:cubicBezTo>
                  <a:cubicBezTo>
                    <a:pt x="38608" y="63"/>
                    <a:pt x="0" y="39402"/>
                    <a:pt x="0" y="89948"/>
                  </a:cubicBezTo>
                  <a:cubicBezTo>
                    <a:pt x="0" y="110046"/>
                    <a:pt x="4445" y="130143"/>
                    <a:pt x="17240" y="14620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6" name="Google Shape;1550;p92">
              <a:extLst>
                <a:ext uri="{FF2B5EF4-FFF2-40B4-BE49-F238E27FC236}">
                  <a16:creationId xmlns:a16="http://schemas.microsoft.com/office/drawing/2014/main" id="{583A4D77-60E2-5D2C-62FE-3AF886849C26}"/>
                </a:ext>
              </a:extLst>
            </p:cNvPr>
            <p:cNvSpPr/>
            <p:nvPr/>
          </p:nvSpPr>
          <p:spPr>
            <a:xfrm>
              <a:off x="10543526" y="4177379"/>
              <a:ext cx="207200" cy="113315"/>
            </a:xfrm>
            <a:custGeom>
              <a:avLst/>
              <a:gdLst/>
              <a:ahLst/>
              <a:cxnLst/>
              <a:rect l="l" t="t" r="r" b="b"/>
              <a:pathLst>
                <a:path w="207200" h="113315" extrusionOk="0">
                  <a:moveTo>
                    <a:pt x="103632" y="82106"/>
                  </a:moveTo>
                  <a:lnTo>
                    <a:pt x="28575" y="0"/>
                  </a:lnTo>
                  <a:lnTo>
                    <a:pt x="0" y="0"/>
                  </a:lnTo>
                  <a:lnTo>
                    <a:pt x="103632" y="113316"/>
                  </a:lnTo>
                  <a:lnTo>
                    <a:pt x="207201" y="0"/>
                  </a:lnTo>
                  <a:lnTo>
                    <a:pt x="1786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7" name="Google Shape;1551;p92">
              <a:extLst>
                <a:ext uri="{FF2B5EF4-FFF2-40B4-BE49-F238E27FC236}">
                  <a16:creationId xmlns:a16="http://schemas.microsoft.com/office/drawing/2014/main" id="{0D67CF11-EE18-634E-4DA0-358DFB683DB8}"/>
                </a:ext>
              </a:extLst>
            </p:cNvPr>
            <p:cNvSpPr/>
            <p:nvPr/>
          </p:nvSpPr>
          <p:spPr>
            <a:xfrm>
              <a:off x="10476215" y="4060570"/>
              <a:ext cx="341883" cy="125317"/>
            </a:xfrm>
            <a:custGeom>
              <a:avLst/>
              <a:gdLst/>
              <a:ahLst/>
              <a:cxnLst/>
              <a:rect l="l" t="t" r="r" b="b"/>
              <a:pathLst>
                <a:path w="341883" h="125317" extrusionOk="0">
                  <a:moveTo>
                    <a:pt x="125254" y="68675"/>
                  </a:moveTo>
                  <a:lnTo>
                    <a:pt x="166180" y="125317"/>
                  </a:lnTo>
                  <a:lnTo>
                    <a:pt x="204629" y="42259"/>
                  </a:lnTo>
                  <a:lnTo>
                    <a:pt x="236855" y="97885"/>
                  </a:lnTo>
                  <a:lnTo>
                    <a:pt x="341884" y="97885"/>
                  </a:lnTo>
                  <a:lnTo>
                    <a:pt x="341884" y="78359"/>
                  </a:lnTo>
                  <a:lnTo>
                    <a:pt x="248095" y="78359"/>
                  </a:lnTo>
                  <a:lnTo>
                    <a:pt x="202692" y="0"/>
                  </a:lnTo>
                  <a:lnTo>
                    <a:pt x="162465" y="86836"/>
                  </a:lnTo>
                  <a:lnTo>
                    <a:pt x="124809" y="34734"/>
                  </a:lnTo>
                  <a:lnTo>
                    <a:pt x="94647" y="78835"/>
                  </a:lnTo>
                  <a:lnTo>
                    <a:pt x="0" y="78835"/>
                  </a:lnTo>
                  <a:lnTo>
                    <a:pt x="0" y="98361"/>
                  </a:lnTo>
                  <a:lnTo>
                    <a:pt x="104934" y="98361"/>
                  </a:lnTo>
                  <a:lnTo>
                    <a:pt x="125254" y="6867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pic>
        <p:nvPicPr>
          <p:cNvPr id="79" name="Picture 78">
            <a:extLst>
              <a:ext uri="{FF2B5EF4-FFF2-40B4-BE49-F238E27FC236}">
                <a16:creationId xmlns:a16="http://schemas.microsoft.com/office/drawing/2014/main" id="{4E157E8C-DDDD-5716-2F3E-15C5995B4322}"/>
              </a:ext>
            </a:extLst>
          </p:cNvPr>
          <p:cNvPicPr>
            <a:picLocks noChangeAspect="1"/>
          </p:cNvPicPr>
          <p:nvPr/>
        </p:nvPicPr>
        <p:blipFill rotWithShape="1">
          <a:blip r:embed="rId7"/>
          <a:srcRect t="15906" b="49863"/>
          <a:stretch/>
        </p:blipFill>
        <p:spPr>
          <a:xfrm>
            <a:off x="6142423" y="4890825"/>
            <a:ext cx="5614916" cy="1281374"/>
          </a:xfrm>
          <a:prstGeom prst="rect">
            <a:avLst/>
          </a:prstGeom>
        </p:spPr>
      </p:pic>
      <p:grpSp>
        <p:nvGrpSpPr>
          <p:cNvPr id="7" name="Group 6">
            <a:extLst>
              <a:ext uri="{FF2B5EF4-FFF2-40B4-BE49-F238E27FC236}">
                <a16:creationId xmlns:a16="http://schemas.microsoft.com/office/drawing/2014/main" id="{EF5B1E8E-3E62-4256-EC15-8DAC6A8FD603}"/>
              </a:ext>
            </a:extLst>
          </p:cNvPr>
          <p:cNvGrpSpPr/>
          <p:nvPr/>
        </p:nvGrpSpPr>
        <p:grpSpPr>
          <a:xfrm>
            <a:off x="8844369" y="159786"/>
            <a:ext cx="2904719" cy="220267"/>
            <a:chOff x="8844369" y="159786"/>
            <a:chExt cx="2904719" cy="220267"/>
          </a:xfrm>
        </p:grpSpPr>
        <p:sp>
          <p:nvSpPr>
            <p:cNvPr id="19" name="Rectangle 18">
              <a:extLst>
                <a:ext uri="{FF2B5EF4-FFF2-40B4-BE49-F238E27FC236}">
                  <a16:creationId xmlns:a16="http://schemas.microsoft.com/office/drawing/2014/main" id="{60DE2455-9BCB-BB87-9F65-FE190E911129}"/>
                </a:ext>
              </a:extLst>
            </p:cNvPr>
            <p:cNvSpPr/>
            <p:nvPr/>
          </p:nvSpPr>
          <p:spPr>
            <a:xfrm>
              <a:off x="9327597" y="159786"/>
              <a:ext cx="2179876"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ntropogēn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5FFE7691-F851-79A7-C424-71B92A0AA3DA}"/>
                </a:ext>
              </a:extLst>
            </p:cNvPr>
            <p:cNvSpPr/>
            <p:nvPr/>
          </p:nvSpPr>
          <p:spPr>
            <a:xfrm>
              <a:off x="9085983"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968D9CB6-EA73-7C30-10DC-EAC7A96E43D6}"/>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DCBB8136-EE22-9B04-DF2B-A412DD83C744}"/>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66540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110B235-F955-EA3B-FC0E-F99459354174}"/>
              </a:ext>
            </a:extLst>
          </p:cNvPr>
          <p:cNvSpPr/>
          <p:nvPr/>
        </p:nvSpPr>
        <p:spPr>
          <a:xfrm>
            <a:off x="450187" y="1823905"/>
            <a:ext cx="38271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solidFill>
                  <a:schemeClr val="bg1"/>
                </a:solidFill>
              </a:rPr>
              <a:t>Ja esiet iesprostots sagruvumā:</a:t>
            </a:r>
            <a:endParaRPr lang="fi-FI" sz="1600" b="1">
              <a:solidFill>
                <a:schemeClr val="bg1"/>
              </a:solidFil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Būvju sabrukums</a:t>
            </a:r>
            <a:br>
              <a:rPr lang="lv-LV"/>
            </a:br>
            <a:r>
              <a:rPr lang="lv-LV">
                <a:solidFill>
                  <a:srgbClr val="A8192D"/>
                </a:solidFill>
              </a:rPr>
              <a:t>Kā rīkoti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1</a:t>
            </a:fld>
            <a:endParaRPr lang="en-GB"/>
          </a:p>
        </p:txBody>
      </p:sp>
      <p:sp>
        <p:nvSpPr>
          <p:cNvPr id="47" name="Rectangle 46">
            <a:extLst>
              <a:ext uri="{FF2B5EF4-FFF2-40B4-BE49-F238E27FC236}">
                <a16:creationId xmlns:a16="http://schemas.microsoft.com/office/drawing/2014/main" id="{D697A073-4B67-4447-043A-F93B67624135}"/>
              </a:ext>
            </a:extLst>
          </p:cNvPr>
          <p:cNvSpPr/>
          <p:nvPr/>
        </p:nvSpPr>
        <p:spPr>
          <a:xfrm>
            <a:off x="1098188" y="2541546"/>
            <a:ext cx="3722409" cy="43217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pt-BR" sz="1400" b="0" i="0">
                <a:solidFill>
                  <a:srgbClr val="212529"/>
                </a:solidFill>
                <a:effectLst/>
              </a:rPr>
              <a:t>Ja ir mobilais tālrunis, zvani</a:t>
            </a:r>
            <a:r>
              <a:rPr lang="lv-LV" sz="1400" b="0" i="0" err="1">
                <a:solidFill>
                  <a:srgbClr val="212529"/>
                </a:solidFill>
                <a:effectLst/>
              </a:rPr>
              <a:t>et</a:t>
            </a:r>
            <a:r>
              <a:rPr lang="pt-BR" sz="1400" b="0" i="0">
                <a:solidFill>
                  <a:srgbClr val="212529"/>
                </a:solidFill>
                <a:effectLst/>
              </a:rPr>
              <a:t> </a:t>
            </a:r>
            <a:r>
              <a:rPr lang="pt-BR" sz="1400" b="1" i="0">
                <a:solidFill>
                  <a:srgbClr val="A8192D"/>
                </a:solidFill>
                <a:effectLst/>
              </a:rPr>
              <a:t>112</a:t>
            </a:r>
            <a:r>
              <a:rPr lang="pt-BR" sz="1400" b="0" i="0">
                <a:solidFill>
                  <a:srgbClr val="212529"/>
                </a:solidFill>
                <a:effectLst/>
              </a:rPr>
              <a:t>.</a:t>
            </a:r>
          </a:p>
        </p:txBody>
      </p:sp>
      <p:cxnSp>
        <p:nvCxnSpPr>
          <p:cNvPr id="50" name="Straight Connector 49">
            <a:extLst>
              <a:ext uri="{FF2B5EF4-FFF2-40B4-BE49-F238E27FC236}">
                <a16:creationId xmlns:a16="http://schemas.microsoft.com/office/drawing/2014/main" id="{2E25A791-72D3-E3CA-C1AC-AD2AF6CDF088}"/>
              </a:ext>
            </a:extLst>
          </p:cNvPr>
          <p:cNvCxnSpPr>
            <a:cxnSpLocks/>
          </p:cNvCxnSpPr>
          <p:nvPr/>
        </p:nvCxnSpPr>
        <p:spPr>
          <a:xfrm>
            <a:off x="1098550" y="3016871"/>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4" name="Rectangle 53">
            <a:extLst>
              <a:ext uri="{FF2B5EF4-FFF2-40B4-BE49-F238E27FC236}">
                <a16:creationId xmlns:a16="http://schemas.microsoft.com/office/drawing/2014/main" id="{A1F71667-D7CD-73A1-7C5D-B210E14862AD}"/>
              </a:ext>
            </a:extLst>
          </p:cNvPr>
          <p:cNvSpPr/>
          <p:nvPr/>
        </p:nvSpPr>
        <p:spPr>
          <a:xfrm>
            <a:off x="1098188" y="3061610"/>
            <a:ext cx="3722409" cy="43234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spc="-20">
                <a:solidFill>
                  <a:srgbClr val="212529"/>
                </a:solidFill>
                <a:effectLst/>
              </a:rPr>
              <a:t>Elpojot aizklājiet muti ar audumu vai apģērbu.</a:t>
            </a:r>
          </a:p>
        </p:txBody>
      </p:sp>
      <p:grpSp>
        <p:nvGrpSpPr>
          <p:cNvPr id="3" name="Group 2">
            <a:extLst>
              <a:ext uri="{FF2B5EF4-FFF2-40B4-BE49-F238E27FC236}">
                <a16:creationId xmlns:a16="http://schemas.microsoft.com/office/drawing/2014/main" id="{93AEDA63-7169-370C-BEFF-F35DAB130A33}"/>
              </a:ext>
            </a:extLst>
          </p:cNvPr>
          <p:cNvGrpSpPr/>
          <p:nvPr/>
        </p:nvGrpSpPr>
        <p:grpSpPr>
          <a:xfrm>
            <a:off x="4172567" y="1823905"/>
            <a:ext cx="646888" cy="576000"/>
            <a:chOff x="4172567" y="1815438"/>
            <a:chExt cx="646888" cy="576000"/>
          </a:xfrm>
        </p:grpSpPr>
        <p:sp>
          <p:nvSpPr>
            <p:cNvPr id="51" name="Rectangle 50">
              <a:extLst>
                <a:ext uri="{FF2B5EF4-FFF2-40B4-BE49-F238E27FC236}">
                  <a16:creationId xmlns:a16="http://schemas.microsoft.com/office/drawing/2014/main" id="{1D9B6445-7F02-AD29-9C1C-BE7ED24A094D}"/>
                </a:ext>
              </a:extLst>
            </p:cNvPr>
            <p:cNvSpPr/>
            <p:nvPr/>
          </p:nvSpPr>
          <p:spPr>
            <a:xfrm>
              <a:off x="4243455" y="1815438"/>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52" name="Rectangle 51">
              <a:extLst>
                <a:ext uri="{FF2B5EF4-FFF2-40B4-BE49-F238E27FC236}">
                  <a16:creationId xmlns:a16="http://schemas.microsoft.com/office/drawing/2014/main" id="{1BE86892-4D0A-D5EF-2C31-083B961D6FA7}"/>
                </a:ext>
              </a:extLst>
            </p:cNvPr>
            <p:cNvSpPr/>
            <p:nvPr/>
          </p:nvSpPr>
          <p:spPr>
            <a:xfrm>
              <a:off x="4172567" y="1815438"/>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57" name="Straight Connector 56">
            <a:extLst>
              <a:ext uri="{FF2B5EF4-FFF2-40B4-BE49-F238E27FC236}">
                <a16:creationId xmlns:a16="http://schemas.microsoft.com/office/drawing/2014/main" id="{F353F342-B0A2-23BA-E106-17B05A219B85}"/>
              </a:ext>
            </a:extLst>
          </p:cNvPr>
          <p:cNvCxnSpPr>
            <a:cxnSpLocks/>
          </p:cNvCxnSpPr>
          <p:nvPr/>
        </p:nvCxnSpPr>
        <p:spPr>
          <a:xfrm>
            <a:off x="1105462" y="3537109"/>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8" name="Rectangle 57">
            <a:extLst>
              <a:ext uri="{FF2B5EF4-FFF2-40B4-BE49-F238E27FC236}">
                <a16:creationId xmlns:a16="http://schemas.microsoft.com/office/drawing/2014/main" id="{A80DDA7E-D756-55C4-C152-BB4BA35E1815}"/>
              </a:ext>
            </a:extLst>
          </p:cNvPr>
          <p:cNvSpPr/>
          <p:nvPr/>
        </p:nvSpPr>
        <p:spPr>
          <a:xfrm>
            <a:off x="1105462" y="3581848"/>
            <a:ext cx="3715135" cy="60344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spc="-20">
                <a:solidFill>
                  <a:srgbClr val="212529"/>
                </a:solidFill>
                <a:effectLst/>
              </a:rPr>
              <a:t>Izmantojiet jebkurus līdzekļus, lai pievērstu glābēju uzmanību, piemēram, klauvējiet pie ēkas konstrukcijām, caurulēm, radiatoriem.</a:t>
            </a:r>
          </a:p>
        </p:txBody>
      </p:sp>
      <p:sp>
        <p:nvSpPr>
          <p:cNvPr id="62" name="Rectangle 61">
            <a:extLst>
              <a:ext uri="{FF2B5EF4-FFF2-40B4-BE49-F238E27FC236}">
                <a16:creationId xmlns:a16="http://schemas.microsoft.com/office/drawing/2014/main" id="{D20A67E3-8EDE-F16B-34AB-1C391339A6D1}"/>
              </a:ext>
            </a:extLst>
          </p:cNvPr>
          <p:cNvSpPr/>
          <p:nvPr/>
        </p:nvSpPr>
        <p:spPr>
          <a:xfrm>
            <a:off x="5178413" y="2497797"/>
            <a:ext cx="6571868"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72000" rIns="72000" bIns="72000" rtlCol="0" anchor="ctr">
            <a:noAutofit/>
          </a:bodyPr>
          <a:lstStyle/>
          <a:p>
            <a:pPr algn="l"/>
            <a:r>
              <a:rPr lang="lv-LV" sz="1400" b="1" i="0">
                <a:solidFill>
                  <a:srgbClr val="A8192D"/>
                </a:solidFill>
                <a:effectLst/>
              </a:rPr>
              <a:t>Situācijas, tāpat kā ēku konstrukcijas, ir atšķirīgas, tāpēc, izvērtējot riskus, ņemiet vērā šādus ieteikumus:</a:t>
            </a:r>
          </a:p>
        </p:txBody>
      </p:sp>
      <p:sp>
        <p:nvSpPr>
          <p:cNvPr id="66" name="Rectangle 65">
            <a:extLst>
              <a:ext uri="{FF2B5EF4-FFF2-40B4-BE49-F238E27FC236}">
                <a16:creationId xmlns:a16="http://schemas.microsoft.com/office/drawing/2014/main" id="{08F122A0-E324-3907-7228-5AE5E3C4843F}"/>
              </a:ext>
            </a:extLst>
          </p:cNvPr>
          <p:cNvSpPr/>
          <p:nvPr/>
        </p:nvSpPr>
        <p:spPr>
          <a:xfrm>
            <a:off x="1113015" y="5058712"/>
            <a:ext cx="3715135" cy="4826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ekavējoties pametiet ēku.</a:t>
            </a:r>
          </a:p>
        </p:txBody>
      </p:sp>
      <p:sp>
        <p:nvSpPr>
          <p:cNvPr id="72" name="Rectangle 71">
            <a:extLst>
              <a:ext uri="{FF2B5EF4-FFF2-40B4-BE49-F238E27FC236}">
                <a16:creationId xmlns:a16="http://schemas.microsoft.com/office/drawing/2014/main" id="{928C2E0E-417C-EDB6-52AB-68E8E20DCEF7}"/>
              </a:ext>
            </a:extLst>
          </p:cNvPr>
          <p:cNvSpPr/>
          <p:nvPr/>
        </p:nvSpPr>
        <p:spPr>
          <a:xfrm>
            <a:off x="5831411" y="3839217"/>
            <a:ext cx="5919788" cy="6794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ometieties uz ceļiem, aptveriet galvu un kaklu ar rokām. Šī poza pasargās no pakrišanas un daļēji aizsargās dzīvībai svarīgus orgānus.</a:t>
            </a:r>
          </a:p>
        </p:txBody>
      </p:sp>
      <p:sp>
        <p:nvSpPr>
          <p:cNvPr id="73" name="Rectangle 72">
            <a:extLst>
              <a:ext uri="{FF2B5EF4-FFF2-40B4-BE49-F238E27FC236}">
                <a16:creationId xmlns:a16="http://schemas.microsoft.com/office/drawing/2014/main" id="{9C86CFCF-7290-9FFE-BEAB-1FA2D67A3C88}"/>
              </a:ext>
            </a:extLst>
          </p:cNvPr>
          <p:cNvSpPr/>
          <p:nvPr/>
        </p:nvSpPr>
        <p:spPr>
          <a:xfrm>
            <a:off x="5180159" y="3839218"/>
            <a:ext cx="576263" cy="6794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4" name="L-Shape 73">
            <a:extLst>
              <a:ext uri="{FF2B5EF4-FFF2-40B4-BE49-F238E27FC236}">
                <a16:creationId xmlns:a16="http://schemas.microsoft.com/office/drawing/2014/main" id="{A053C19A-38A1-C7C7-53E6-87F351A8BF88}"/>
              </a:ext>
            </a:extLst>
          </p:cNvPr>
          <p:cNvSpPr/>
          <p:nvPr/>
        </p:nvSpPr>
        <p:spPr>
          <a:xfrm rot="13500000">
            <a:off x="5303027" y="404255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75" name="Straight Connector 74">
            <a:extLst>
              <a:ext uri="{FF2B5EF4-FFF2-40B4-BE49-F238E27FC236}">
                <a16:creationId xmlns:a16="http://schemas.microsoft.com/office/drawing/2014/main" id="{70FAA842-5D21-E625-D55B-0CB1F9A8CBFB}"/>
              </a:ext>
            </a:extLst>
          </p:cNvPr>
          <p:cNvCxnSpPr>
            <a:cxnSpLocks/>
          </p:cNvCxnSpPr>
          <p:nvPr/>
        </p:nvCxnSpPr>
        <p:spPr>
          <a:xfrm>
            <a:off x="5831411" y="3760846"/>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6" name="Straight Connector 75">
            <a:extLst>
              <a:ext uri="{FF2B5EF4-FFF2-40B4-BE49-F238E27FC236}">
                <a16:creationId xmlns:a16="http://schemas.microsoft.com/office/drawing/2014/main" id="{957D2CA1-D403-C980-F58A-536F6D58014A}"/>
              </a:ext>
            </a:extLst>
          </p:cNvPr>
          <p:cNvCxnSpPr>
            <a:cxnSpLocks/>
          </p:cNvCxnSpPr>
          <p:nvPr/>
        </p:nvCxnSpPr>
        <p:spPr>
          <a:xfrm>
            <a:off x="5831411" y="4588762"/>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F0709471-AB6A-FC77-830D-DDEFCBAEDBAA}"/>
              </a:ext>
            </a:extLst>
          </p:cNvPr>
          <p:cNvSpPr/>
          <p:nvPr/>
        </p:nvSpPr>
        <p:spPr>
          <a:xfrm>
            <a:off x="5831411" y="4667133"/>
            <a:ext cx="5919788" cy="6794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Palieciet uz vietas, līdz beidzas sagruvums.</a:t>
            </a:r>
          </a:p>
        </p:txBody>
      </p:sp>
      <p:sp>
        <p:nvSpPr>
          <p:cNvPr id="78" name="Rectangle 77">
            <a:extLst>
              <a:ext uri="{FF2B5EF4-FFF2-40B4-BE49-F238E27FC236}">
                <a16:creationId xmlns:a16="http://schemas.microsoft.com/office/drawing/2014/main" id="{497B592F-2CA7-2C0B-CF35-2C645BBEBA04}"/>
              </a:ext>
            </a:extLst>
          </p:cNvPr>
          <p:cNvSpPr/>
          <p:nvPr/>
        </p:nvSpPr>
        <p:spPr>
          <a:xfrm>
            <a:off x="5180159" y="4667135"/>
            <a:ext cx="576263" cy="6794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9" name="L-Shape 78">
            <a:extLst>
              <a:ext uri="{FF2B5EF4-FFF2-40B4-BE49-F238E27FC236}">
                <a16:creationId xmlns:a16="http://schemas.microsoft.com/office/drawing/2014/main" id="{BCB7C98B-83FE-D198-ED60-F7364A0908C0}"/>
              </a:ext>
            </a:extLst>
          </p:cNvPr>
          <p:cNvSpPr/>
          <p:nvPr/>
        </p:nvSpPr>
        <p:spPr>
          <a:xfrm rot="13500000">
            <a:off x="5303027" y="487047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0" name="Rectangle 79">
            <a:extLst>
              <a:ext uri="{FF2B5EF4-FFF2-40B4-BE49-F238E27FC236}">
                <a16:creationId xmlns:a16="http://schemas.microsoft.com/office/drawing/2014/main" id="{BEF3E042-EAD3-8DE1-2389-A3B98EA88CB9}"/>
              </a:ext>
            </a:extLst>
          </p:cNvPr>
          <p:cNvSpPr/>
          <p:nvPr/>
        </p:nvSpPr>
        <p:spPr>
          <a:xfrm>
            <a:off x="5831411" y="5495051"/>
            <a:ext cx="5919788" cy="6794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Kad sagruvums beidzas, pametiet ēku, izvairoties no nestabiliem objektiem vai konstrukcijām. </a:t>
            </a:r>
            <a:r>
              <a:rPr lang="lv-LV" sz="1400" b="1" i="0">
                <a:solidFill>
                  <a:srgbClr val="A8192D"/>
                </a:solidFill>
                <a:effectLst/>
              </a:rPr>
              <a:t>Atcerieties!</a:t>
            </a:r>
            <a:r>
              <a:rPr lang="lv-LV" sz="1400" b="0" i="0">
                <a:solidFill>
                  <a:srgbClr val="A8192D"/>
                </a:solidFill>
                <a:effectLst/>
              </a:rPr>
              <a:t> Pametot ēku, neizmantojiet liftu!</a:t>
            </a:r>
          </a:p>
        </p:txBody>
      </p:sp>
      <p:sp>
        <p:nvSpPr>
          <p:cNvPr id="81" name="Rectangle 80">
            <a:extLst>
              <a:ext uri="{FF2B5EF4-FFF2-40B4-BE49-F238E27FC236}">
                <a16:creationId xmlns:a16="http://schemas.microsoft.com/office/drawing/2014/main" id="{2B20D985-1A09-1E1A-8A91-B2D1F9EC154D}"/>
              </a:ext>
            </a:extLst>
          </p:cNvPr>
          <p:cNvSpPr/>
          <p:nvPr/>
        </p:nvSpPr>
        <p:spPr>
          <a:xfrm>
            <a:off x="5180159" y="5495051"/>
            <a:ext cx="576263" cy="6794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2" name="L-Shape 81">
            <a:extLst>
              <a:ext uri="{FF2B5EF4-FFF2-40B4-BE49-F238E27FC236}">
                <a16:creationId xmlns:a16="http://schemas.microsoft.com/office/drawing/2014/main" id="{1F0EB707-146A-7083-C7F8-D8B91A4BA780}"/>
              </a:ext>
            </a:extLst>
          </p:cNvPr>
          <p:cNvSpPr/>
          <p:nvPr/>
        </p:nvSpPr>
        <p:spPr>
          <a:xfrm rot="13500000">
            <a:off x="5293600" y="5698388"/>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83" name="Straight Connector 82">
            <a:extLst>
              <a:ext uri="{FF2B5EF4-FFF2-40B4-BE49-F238E27FC236}">
                <a16:creationId xmlns:a16="http://schemas.microsoft.com/office/drawing/2014/main" id="{932B34D4-AF5E-FC69-DBF7-6AE9C985A70B}"/>
              </a:ext>
            </a:extLst>
          </p:cNvPr>
          <p:cNvCxnSpPr>
            <a:cxnSpLocks/>
          </p:cNvCxnSpPr>
          <p:nvPr/>
        </p:nvCxnSpPr>
        <p:spPr>
          <a:xfrm>
            <a:off x="5831411" y="5416678"/>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7" name="Group 26">
            <a:extLst>
              <a:ext uri="{FF2B5EF4-FFF2-40B4-BE49-F238E27FC236}">
                <a16:creationId xmlns:a16="http://schemas.microsoft.com/office/drawing/2014/main" id="{755A2F43-690A-BA2B-4080-FA57075B5F4C}"/>
              </a:ext>
            </a:extLst>
          </p:cNvPr>
          <p:cNvGrpSpPr/>
          <p:nvPr/>
        </p:nvGrpSpPr>
        <p:grpSpPr>
          <a:xfrm>
            <a:off x="445641" y="2541720"/>
            <a:ext cx="576263" cy="432000"/>
            <a:chOff x="445641" y="2541720"/>
            <a:chExt cx="576263" cy="432000"/>
          </a:xfrm>
        </p:grpSpPr>
        <p:sp>
          <p:nvSpPr>
            <p:cNvPr id="92" name="Rectangle 91">
              <a:extLst>
                <a:ext uri="{FF2B5EF4-FFF2-40B4-BE49-F238E27FC236}">
                  <a16:creationId xmlns:a16="http://schemas.microsoft.com/office/drawing/2014/main" id="{BF9E9EDF-3AF8-1973-1707-768236F3A392}"/>
                </a:ext>
              </a:extLst>
            </p:cNvPr>
            <p:cNvSpPr/>
            <p:nvPr/>
          </p:nvSpPr>
          <p:spPr>
            <a:xfrm>
              <a:off x="445641" y="254172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3" name="L-Shape 92">
              <a:extLst>
                <a:ext uri="{FF2B5EF4-FFF2-40B4-BE49-F238E27FC236}">
                  <a16:creationId xmlns:a16="http://schemas.microsoft.com/office/drawing/2014/main" id="{0314C786-59A0-32D8-38D9-F844DF1CA7C7}"/>
                </a:ext>
              </a:extLst>
            </p:cNvPr>
            <p:cNvSpPr/>
            <p:nvPr/>
          </p:nvSpPr>
          <p:spPr>
            <a:xfrm rot="13500000">
              <a:off x="568509" y="26213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6" name="Group 25">
            <a:extLst>
              <a:ext uri="{FF2B5EF4-FFF2-40B4-BE49-F238E27FC236}">
                <a16:creationId xmlns:a16="http://schemas.microsoft.com/office/drawing/2014/main" id="{96F39947-955A-E23F-BD68-7AB190AF29C4}"/>
              </a:ext>
            </a:extLst>
          </p:cNvPr>
          <p:cNvGrpSpPr/>
          <p:nvPr/>
        </p:nvGrpSpPr>
        <p:grpSpPr>
          <a:xfrm>
            <a:off x="445640" y="3581972"/>
            <a:ext cx="576263" cy="603322"/>
            <a:chOff x="445640" y="3581972"/>
            <a:chExt cx="576263" cy="603322"/>
          </a:xfrm>
        </p:grpSpPr>
        <p:sp>
          <p:nvSpPr>
            <p:cNvPr id="96" name="Rectangle 95">
              <a:extLst>
                <a:ext uri="{FF2B5EF4-FFF2-40B4-BE49-F238E27FC236}">
                  <a16:creationId xmlns:a16="http://schemas.microsoft.com/office/drawing/2014/main" id="{278B5017-97C1-ADE0-A3C8-406A0A404E75}"/>
                </a:ext>
              </a:extLst>
            </p:cNvPr>
            <p:cNvSpPr/>
            <p:nvPr/>
          </p:nvSpPr>
          <p:spPr>
            <a:xfrm>
              <a:off x="445640" y="3581972"/>
              <a:ext cx="576263" cy="60332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7" name="L-Shape 96">
              <a:extLst>
                <a:ext uri="{FF2B5EF4-FFF2-40B4-BE49-F238E27FC236}">
                  <a16:creationId xmlns:a16="http://schemas.microsoft.com/office/drawing/2014/main" id="{8C9AFDE8-9F93-9827-B541-92580F60B883}"/>
                </a:ext>
              </a:extLst>
            </p:cNvPr>
            <p:cNvSpPr/>
            <p:nvPr/>
          </p:nvSpPr>
          <p:spPr>
            <a:xfrm rot="13500000">
              <a:off x="568508" y="374724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98" name="Rectangle 97">
            <a:extLst>
              <a:ext uri="{FF2B5EF4-FFF2-40B4-BE49-F238E27FC236}">
                <a16:creationId xmlns:a16="http://schemas.microsoft.com/office/drawing/2014/main" id="{8BD33588-1853-32E4-D3B1-751E4A1715CC}"/>
              </a:ext>
            </a:extLst>
          </p:cNvPr>
          <p:cNvSpPr/>
          <p:nvPr/>
        </p:nvSpPr>
        <p:spPr>
          <a:xfrm>
            <a:off x="440760" y="4334003"/>
            <a:ext cx="4378695"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solidFill>
                  <a:schemeClr val="tx1"/>
                </a:solidFill>
              </a:rPr>
              <a:t>Ja pastāv ēkas sagruvuma draudi</a:t>
            </a:r>
            <a:endParaRPr lang="fi-FI" sz="1600" b="1">
              <a:solidFill>
                <a:schemeClr val="tx1"/>
              </a:solidFill>
            </a:endParaRPr>
          </a:p>
        </p:txBody>
      </p:sp>
      <p:sp>
        <p:nvSpPr>
          <p:cNvPr id="100" name="Rectangle 99">
            <a:extLst>
              <a:ext uri="{FF2B5EF4-FFF2-40B4-BE49-F238E27FC236}">
                <a16:creationId xmlns:a16="http://schemas.microsoft.com/office/drawing/2014/main" id="{84096BBD-C066-0550-82E9-4A74096E56D6}"/>
              </a:ext>
            </a:extLst>
          </p:cNvPr>
          <p:cNvSpPr/>
          <p:nvPr/>
        </p:nvSpPr>
        <p:spPr>
          <a:xfrm>
            <a:off x="4243455" y="4334003"/>
            <a:ext cx="576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101" name="Rectangle 100">
            <a:extLst>
              <a:ext uri="{FF2B5EF4-FFF2-40B4-BE49-F238E27FC236}">
                <a16:creationId xmlns:a16="http://schemas.microsoft.com/office/drawing/2014/main" id="{F9037D17-5A5A-C117-143A-25F890F1ACB5}"/>
              </a:ext>
            </a:extLst>
          </p:cNvPr>
          <p:cNvSpPr/>
          <p:nvPr/>
        </p:nvSpPr>
        <p:spPr>
          <a:xfrm>
            <a:off x="4172567" y="4334003"/>
            <a:ext cx="72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02" name="Google Shape;1770;p93">
            <a:extLst>
              <a:ext uri="{FF2B5EF4-FFF2-40B4-BE49-F238E27FC236}">
                <a16:creationId xmlns:a16="http://schemas.microsoft.com/office/drawing/2014/main" id="{172DD8C4-2B97-3E9C-884B-B2A640C7829B}"/>
              </a:ext>
            </a:extLst>
          </p:cNvPr>
          <p:cNvGrpSpPr/>
          <p:nvPr/>
        </p:nvGrpSpPr>
        <p:grpSpPr>
          <a:xfrm>
            <a:off x="4351455" y="4442003"/>
            <a:ext cx="360000" cy="360000"/>
            <a:chOff x="7461366" y="2560815"/>
            <a:chExt cx="457200" cy="457200"/>
          </a:xfrm>
          <a:solidFill>
            <a:schemeClr val="tx1"/>
          </a:solidFill>
        </p:grpSpPr>
        <p:grpSp>
          <p:nvGrpSpPr>
            <p:cNvPr id="103" name="Google Shape;1771;p93">
              <a:extLst>
                <a:ext uri="{FF2B5EF4-FFF2-40B4-BE49-F238E27FC236}">
                  <a16:creationId xmlns:a16="http://schemas.microsoft.com/office/drawing/2014/main" id="{61BCCF13-157B-24D5-B1AF-7CB0BF6C9970}"/>
                </a:ext>
              </a:extLst>
            </p:cNvPr>
            <p:cNvGrpSpPr/>
            <p:nvPr/>
          </p:nvGrpSpPr>
          <p:grpSpPr>
            <a:xfrm>
              <a:off x="7461366" y="2560815"/>
              <a:ext cx="457200" cy="457200"/>
              <a:chOff x="7461366" y="2560815"/>
              <a:chExt cx="457200" cy="457200"/>
            </a:xfrm>
            <a:grpFill/>
          </p:grpSpPr>
          <p:sp>
            <p:nvSpPr>
              <p:cNvPr id="105" name="Google Shape;1772;p93">
                <a:extLst>
                  <a:ext uri="{FF2B5EF4-FFF2-40B4-BE49-F238E27FC236}">
                    <a16:creationId xmlns:a16="http://schemas.microsoft.com/office/drawing/2014/main" id="{2E3B2AC8-9BB0-A537-E473-2F14E6CC3F61}"/>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6" name="Google Shape;1773;p93">
                <a:extLst>
                  <a:ext uri="{FF2B5EF4-FFF2-40B4-BE49-F238E27FC236}">
                    <a16:creationId xmlns:a16="http://schemas.microsoft.com/office/drawing/2014/main" id="{AD48F423-BC13-793F-BCAD-AE51747BBC47}"/>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7" name="Google Shape;1774;p93">
                <a:extLst>
                  <a:ext uri="{FF2B5EF4-FFF2-40B4-BE49-F238E27FC236}">
                    <a16:creationId xmlns:a16="http://schemas.microsoft.com/office/drawing/2014/main" id="{2D0B39F0-A90E-62AF-1AF4-8097B2AF8AC5}"/>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8" name="Google Shape;1775;p93">
                <a:extLst>
                  <a:ext uri="{FF2B5EF4-FFF2-40B4-BE49-F238E27FC236}">
                    <a16:creationId xmlns:a16="http://schemas.microsoft.com/office/drawing/2014/main" id="{08B1FB2C-20BF-FED0-9F78-F195A0E0DF55}"/>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104" name="Google Shape;1776;p93">
              <a:extLst>
                <a:ext uri="{FF2B5EF4-FFF2-40B4-BE49-F238E27FC236}">
                  <a16:creationId xmlns:a16="http://schemas.microsoft.com/office/drawing/2014/main" id="{B4EE9356-70CE-F152-BA6D-9CAF7C5429D8}"/>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cxnSp>
        <p:nvCxnSpPr>
          <p:cNvPr id="112" name="Straight Connector 111">
            <a:extLst>
              <a:ext uri="{FF2B5EF4-FFF2-40B4-BE49-F238E27FC236}">
                <a16:creationId xmlns:a16="http://schemas.microsoft.com/office/drawing/2014/main" id="{CD39ED22-5598-40BF-6185-A1CD21019034}"/>
              </a:ext>
            </a:extLst>
          </p:cNvPr>
          <p:cNvCxnSpPr>
            <a:cxnSpLocks/>
          </p:cNvCxnSpPr>
          <p:nvPr/>
        </p:nvCxnSpPr>
        <p:spPr>
          <a:xfrm>
            <a:off x="1108155" y="5602799"/>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15" name="Rectangle 114">
            <a:extLst>
              <a:ext uri="{FF2B5EF4-FFF2-40B4-BE49-F238E27FC236}">
                <a16:creationId xmlns:a16="http://schemas.microsoft.com/office/drawing/2014/main" id="{AC9AFDE3-6025-D33B-9BCE-048E2F44448D}"/>
              </a:ext>
            </a:extLst>
          </p:cNvPr>
          <p:cNvSpPr/>
          <p:nvPr/>
        </p:nvSpPr>
        <p:spPr>
          <a:xfrm>
            <a:off x="1098551" y="5662034"/>
            <a:ext cx="3729600" cy="50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eizmantojiet liftu.</a:t>
            </a:r>
          </a:p>
        </p:txBody>
      </p:sp>
      <p:sp>
        <p:nvSpPr>
          <p:cNvPr id="117" name="Rectangle 116">
            <a:extLst>
              <a:ext uri="{FF2B5EF4-FFF2-40B4-BE49-F238E27FC236}">
                <a16:creationId xmlns:a16="http://schemas.microsoft.com/office/drawing/2014/main" id="{7FF0E3A3-5055-1E1C-2ECB-311B2F5110A2}"/>
              </a:ext>
            </a:extLst>
          </p:cNvPr>
          <p:cNvSpPr/>
          <p:nvPr/>
        </p:nvSpPr>
        <p:spPr>
          <a:xfrm>
            <a:off x="5831411" y="3011290"/>
            <a:ext cx="5918870" cy="67946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Mēģiniet patverties zem stingras aizsargbarjeras, piemēram, nesošās iekšējās sienas durvju ailē, zem galda. Netuvojieties un nemeklējiet patvērumu pie logiem, ārējām sienām.</a:t>
            </a:r>
          </a:p>
        </p:txBody>
      </p:sp>
      <p:sp>
        <p:nvSpPr>
          <p:cNvPr id="118" name="Rectangle 117">
            <a:extLst>
              <a:ext uri="{FF2B5EF4-FFF2-40B4-BE49-F238E27FC236}">
                <a16:creationId xmlns:a16="http://schemas.microsoft.com/office/drawing/2014/main" id="{4AEB3601-F0EB-A240-03AE-7A3E85EB8BEF}"/>
              </a:ext>
            </a:extLst>
          </p:cNvPr>
          <p:cNvSpPr/>
          <p:nvPr/>
        </p:nvSpPr>
        <p:spPr>
          <a:xfrm>
            <a:off x="5170732" y="3011126"/>
            <a:ext cx="576263" cy="6796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9" name="L-Shape 118">
            <a:extLst>
              <a:ext uri="{FF2B5EF4-FFF2-40B4-BE49-F238E27FC236}">
                <a16:creationId xmlns:a16="http://schemas.microsoft.com/office/drawing/2014/main" id="{045D6976-7AD8-9FC3-F424-6EBAACDB27F2}"/>
              </a:ext>
            </a:extLst>
          </p:cNvPr>
          <p:cNvSpPr/>
          <p:nvPr/>
        </p:nvSpPr>
        <p:spPr>
          <a:xfrm rot="13500000">
            <a:off x="5293600" y="321455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Rectangle 4">
            <a:extLst>
              <a:ext uri="{FF2B5EF4-FFF2-40B4-BE49-F238E27FC236}">
                <a16:creationId xmlns:a16="http://schemas.microsoft.com/office/drawing/2014/main" id="{08AF9865-EA04-B5FE-ECB3-0DFD79D01630}"/>
              </a:ext>
            </a:extLst>
          </p:cNvPr>
          <p:cNvSpPr/>
          <p:nvPr/>
        </p:nvSpPr>
        <p:spPr>
          <a:xfrm>
            <a:off x="5169945" y="1823905"/>
            <a:ext cx="6571868"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solidFill>
                  <a:schemeClr val="bg1"/>
                </a:solidFill>
              </a:rPr>
              <a:t>Ja ir sācies ēkas sagruvums:</a:t>
            </a:r>
            <a:endParaRPr lang="fi-FI" sz="1600" b="1">
              <a:solidFill>
                <a:schemeClr val="bg1"/>
              </a:solidFill>
            </a:endParaRPr>
          </a:p>
        </p:txBody>
      </p:sp>
      <p:sp>
        <p:nvSpPr>
          <p:cNvPr id="7" name="Rectangle 6">
            <a:extLst>
              <a:ext uri="{FF2B5EF4-FFF2-40B4-BE49-F238E27FC236}">
                <a16:creationId xmlns:a16="http://schemas.microsoft.com/office/drawing/2014/main" id="{293E70AC-8F36-D5C1-9C78-F73A587EBFD0}"/>
              </a:ext>
            </a:extLst>
          </p:cNvPr>
          <p:cNvSpPr/>
          <p:nvPr/>
        </p:nvSpPr>
        <p:spPr>
          <a:xfrm>
            <a:off x="11174280" y="182390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8" name="Rectangle 7">
            <a:extLst>
              <a:ext uri="{FF2B5EF4-FFF2-40B4-BE49-F238E27FC236}">
                <a16:creationId xmlns:a16="http://schemas.microsoft.com/office/drawing/2014/main" id="{03F5422C-BA1B-802C-754F-B3D9F62FAA9F}"/>
              </a:ext>
            </a:extLst>
          </p:cNvPr>
          <p:cNvSpPr/>
          <p:nvPr/>
        </p:nvSpPr>
        <p:spPr>
          <a:xfrm>
            <a:off x="11094925" y="182390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Google Shape;2220;p101">
            <a:extLst>
              <a:ext uri="{FF2B5EF4-FFF2-40B4-BE49-F238E27FC236}">
                <a16:creationId xmlns:a16="http://schemas.microsoft.com/office/drawing/2014/main" id="{0282BEA9-0B55-4AE6-61FA-2053FCEB1934}"/>
              </a:ext>
            </a:extLst>
          </p:cNvPr>
          <p:cNvSpPr/>
          <p:nvPr/>
        </p:nvSpPr>
        <p:spPr>
          <a:xfrm>
            <a:off x="11318280" y="195943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 name="Rectangle 15">
            <a:extLst>
              <a:ext uri="{FF2B5EF4-FFF2-40B4-BE49-F238E27FC236}">
                <a16:creationId xmlns:a16="http://schemas.microsoft.com/office/drawing/2014/main" id="{21E7A931-656F-37BB-FF3F-D62B6BDA61B2}"/>
              </a:ext>
            </a:extLst>
          </p:cNvPr>
          <p:cNvSpPr/>
          <p:nvPr/>
        </p:nvSpPr>
        <p:spPr>
          <a:xfrm>
            <a:off x="445640" y="5058712"/>
            <a:ext cx="576263" cy="4826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L-Shape 16">
            <a:extLst>
              <a:ext uri="{FF2B5EF4-FFF2-40B4-BE49-F238E27FC236}">
                <a16:creationId xmlns:a16="http://schemas.microsoft.com/office/drawing/2014/main" id="{EDFD6E63-EC15-212C-C517-4142999EC0F9}"/>
              </a:ext>
            </a:extLst>
          </p:cNvPr>
          <p:cNvSpPr/>
          <p:nvPr/>
        </p:nvSpPr>
        <p:spPr>
          <a:xfrm rot="13500000">
            <a:off x="568730" y="5163624"/>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1E1B3E0C-7586-73A2-3EEA-250B7BE6167F}"/>
              </a:ext>
            </a:extLst>
          </p:cNvPr>
          <p:cNvSpPr/>
          <p:nvPr/>
        </p:nvSpPr>
        <p:spPr>
          <a:xfrm>
            <a:off x="445640" y="5691550"/>
            <a:ext cx="576263" cy="48295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1" name="L-Shape 20">
            <a:extLst>
              <a:ext uri="{FF2B5EF4-FFF2-40B4-BE49-F238E27FC236}">
                <a16:creationId xmlns:a16="http://schemas.microsoft.com/office/drawing/2014/main" id="{F6B6ACE7-0EE3-3EFF-78BA-65B7BFE053B3}"/>
              </a:ext>
            </a:extLst>
          </p:cNvPr>
          <p:cNvSpPr/>
          <p:nvPr/>
        </p:nvSpPr>
        <p:spPr>
          <a:xfrm rot="13500000">
            <a:off x="568730" y="5796637"/>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9" name="Group 28">
            <a:extLst>
              <a:ext uri="{FF2B5EF4-FFF2-40B4-BE49-F238E27FC236}">
                <a16:creationId xmlns:a16="http://schemas.microsoft.com/office/drawing/2014/main" id="{DFC58948-A0E6-6BC3-82B8-5DCB9941D448}"/>
              </a:ext>
            </a:extLst>
          </p:cNvPr>
          <p:cNvGrpSpPr/>
          <p:nvPr/>
        </p:nvGrpSpPr>
        <p:grpSpPr>
          <a:xfrm>
            <a:off x="442913" y="3061846"/>
            <a:ext cx="576263" cy="432000"/>
            <a:chOff x="445641" y="2541720"/>
            <a:chExt cx="576263" cy="432000"/>
          </a:xfrm>
        </p:grpSpPr>
        <p:sp>
          <p:nvSpPr>
            <p:cNvPr id="30" name="Rectangle 29">
              <a:extLst>
                <a:ext uri="{FF2B5EF4-FFF2-40B4-BE49-F238E27FC236}">
                  <a16:creationId xmlns:a16="http://schemas.microsoft.com/office/drawing/2014/main" id="{BBB27E34-3A4B-ECB6-CC23-94CB28BDF924}"/>
                </a:ext>
              </a:extLst>
            </p:cNvPr>
            <p:cNvSpPr/>
            <p:nvPr/>
          </p:nvSpPr>
          <p:spPr>
            <a:xfrm>
              <a:off x="445641" y="254172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1" name="L-Shape 30">
              <a:extLst>
                <a:ext uri="{FF2B5EF4-FFF2-40B4-BE49-F238E27FC236}">
                  <a16:creationId xmlns:a16="http://schemas.microsoft.com/office/drawing/2014/main" id="{D48DA630-5E68-C96F-2DF5-BABBD8E00379}"/>
                </a:ext>
              </a:extLst>
            </p:cNvPr>
            <p:cNvSpPr/>
            <p:nvPr/>
          </p:nvSpPr>
          <p:spPr>
            <a:xfrm rot="13500000">
              <a:off x="568509" y="26213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4" name="Google Shape;707;p79">
            <a:extLst>
              <a:ext uri="{FF2B5EF4-FFF2-40B4-BE49-F238E27FC236}">
                <a16:creationId xmlns:a16="http://schemas.microsoft.com/office/drawing/2014/main" id="{655DA197-79DB-4474-F05A-2ECAE37EF54D}"/>
              </a:ext>
            </a:extLst>
          </p:cNvPr>
          <p:cNvGrpSpPr/>
          <p:nvPr/>
        </p:nvGrpSpPr>
        <p:grpSpPr>
          <a:xfrm>
            <a:off x="4341297" y="1928250"/>
            <a:ext cx="360000" cy="360000"/>
            <a:chOff x="4276447" y="6040963"/>
            <a:chExt cx="457199" cy="457200"/>
          </a:xfrm>
          <a:solidFill>
            <a:schemeClr val="bg1"/>
          </a:solidFill>
        </p:grpSpPr>
        <p:sp>
          <p:nvSpPr>
            <p:cNvPr id="46" name="Google Shape;708;p79">
              <a:extLst>
                <a:ext uri="{FF2B5EF4-FFF2-40B4-BE49-F238E27FC236}">
                  <a16:creationId xmlns:a16="http://schemas.microsoft.com/office/drawing/2014/main" id="{0BD087F2-2E07-B00B-43E0-AA35F9DA762C}"/>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48" name="Google Shape;709;p79">
              <a:extLst>
                <a:ext uri="{FF2B5EF4-FFF2-40B4-BE49-F238E27FC236}">
                  <a16:creationId xmlns:a16="http://schemas.microsoft.com/office/drawing/2014/main" id="{3EE1E5DA-A6F0-A74A-35A6-8F06156966F3}"/>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grpSp>
        <p:nvGrpSpPr>
          <p:cNvPr id="6" name="Group 5">
            <a:extLst>
              <a:ext uri="{FF2B5EF4-FFF2-40B4-BE49-F238E27FC236}">
                <a16:creationId xmlns:a16="http://schemas.microsoft.com/office/drawing/2014/main" id="{CE47CDB6-747C-8F68-86FE-E6F240F2BE03}"/>
              </a:ext>
            </a:extLst>
          </p:cNvPr>
          <p:cNvGrpSpPr/>
          <p:nvPr/>
        </p:nvGrpSpPr>
        <p:grpSpPr>
          <a:xfrm>
            <a:off x="8844369" y="159786"/>
            <a:ext cx="2904719" cy="220267"/>
            <a:chOff x="8844369" y="159786"/>
            <a:chExt cx="2904719" cy="220267"/>
          </a:xfrm>
        </p:grpSpPr>
        <p:sp>
          <p:nvSpPr>
            <p:cNvPr id="10" name="Rectangle 9">
              <a:extLst>
                <a:ext uri="{FF2B5EF4-FFF2-40B4-BE49-F238E27FC236}">
                  <a16:creationId xmlns:a16="http://schemas.microsoft.com/office/drawing/2014/main" id="{39290A8E-E2B9-8CCD-B93A-D1B2908A0EC4}"/>
                </a:ext>
              </a:extLst>
            </p:cNvPr>
            <p:cNvSpPr/>
            <p:nvPr/>
          </p:nvSpPr>
          <p:spPr>
            <a:xfrm>
              <a:off x="9327597" y="159786"/>
              <a:ext cx="2179876"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ntropogēn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4E83D03B-2322-5090-34C8-31F61FFAD74E}"/>
                </a:ext>
              </a:extLst>
            </p:cNvPr>
            <p:cNvSpPr/>
            <p:nvPr/>
          </p:nvSpPr>
          <p:spPr>
            <a:xfrm>
              <a:off x="9085983"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21CF942F-D1EB-C3B7-8112-1BB49971F3D7}"/>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0D87DEFA-62CD-643C-7723-5D03B3662814}"/>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4843931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B2A65D0B-72C5-2626-590C-FBAC85E1DDCC}"/>
              </a:ext>
            </a:extLst>
          </p:cNvPr>
          <p:cNvGraphicFramePr>
            <a:graphicFrameLocks noChangeAspect="1"/>
          </p:cNvGraphicFramePr>
          <p:nvPr>
            <p:custDataLst>
              <p:tags r:id="rId1"/>
            </p:custDataLst>
            <p:extLst>
              <p:ext uri="{D42A27DB-BD31-4B8C-83A1-F6EECF244321}">
                <p14:modId xmlns:p14="http://schemas.microsoft.com/office/powerpoint/2010/main" val="6516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8" name="think-cell data - do not delete" hidden="1">
                        <a:extLst>
                          <a:ext uri="{FF2B5EF4-FFF2-40B4-BE49-F238E27FC236}">
                            <a16:creationId xmlns:a16="http://schemas.microsoft.com/office/drawing/2014/main" id="{B2A65D0B-72C5-2626-590C-FBAC85E1D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3" name="Group 22">
            <a:extLst>
              <a:ext uri="{FF2B5EF4-FFF2-40B4-BE49-F238E27FC236}">
                <a16:creationId xmlns:a16="http://schemas.microsoft.com/office/drawing/2014/main" id="{5F16E160-B5F9-DB7E-B655-1AF05426D38C}"/>
              </a:ext>
            </a:extLst>
          </p:cNvPr>
          <p:cNvGrpSpPr/>
          <p:nvPr/>
        </p:nvGrpSpPr>
        <p:grpSpPr>
          <a:xfrm>
            <a:off x="8844369" y="159786"/>
            <a:ext cx="2904719" cy="220267"/>
            <a:chOff x="8844369" y="159786"/>
            <a:chExt cx="2904719" cy="220267"/>
          </a:xfrm>
        </p:grpSpPr>
        <p:sp>
          <p:nvSpPr>
            <p:cNvPr id="33" name="Rectangle 32">
              <a:extLst>
                <a:ext uri="{FF2B5EF4-FFF2-40B4-BE49-F238E27FC236}">
                  <a16:creationId xmlns:a16="http://schemas.microsoft.com/office/drawing/2014/main" id="{F799C5A6-C8FF-6B8D-CA50-683A4747DBE9}"/>
                </a:ext>
              </a:extLst>
            </p:cNvPr>
            <p:cNvSpPr/>
            <p:nvPr/>
          </p:nvSpPr>
          <p:spPr>
            <a:xfrm>
              <a:off x="9327597" y="159786"/>
              <a:ext cx="2179876"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ntropogēn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9EBF84A4-538C-277F-E123-967C0E237CA9}"/>
                </a:ext>
              </a:extLst>
            </p:cNvPr>
            <p:cNvSpPr/>
            <p:nvPr/>
          </p:nvSpPr>
          <p:spPr>
            <a:xfrm>
              <a:off x="9085983"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C228A6F6-4F14-6CA9-F5F2-70F280F647B5}"/>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A1378683-5E5C-2AEC-605D-4DF29DEB3983}"/>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Bīstamo ķīmisko vielu noplūde objektā</a:t>
            </a:r>
            <a:br>
              <a:rPr lang="lv-LV"/>
            </a:br>
            <a:r>
              <a:rPr lang="lv-LV">
                <a:solidFill>
                  <a:srgbClr val="A8192D"/>
                </a:solidFill>
              </a:rPr>
              <a:t>Kā rīkoties? </a:t>
            </a:r>
            <a:r>
              <a:rPr lang="en-US">
                <a:solidFill>
                  <a:srgbClr val="A8192D"/>
                </a:solidFill>
              </a:rPr>
              <a:t>(1/2)</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2</a:t>
            </a:fld>
            <a:endParaRPr lang="en-GB"/>
          </a:p>
        </p:txBody>
      </p:sp>
      <p:sp>
        <p:nvSpPr>
          <p:cNvPr id="9" name="Rectangle 8">
            <a:extLst>
              <a:ext uri="{FF2B5EF4-FFF2-40B4-BE49-F238E27FC236}">
                <a16:creationId xmlns:a16="http://schemas.microsoft.com/office/drawing/2014/main" id="{1E6D5DC2-11CC-0E32-FD1E-5E930DBDAF6F}"/>
              </a:ext>
            </a:extLst>
          </p:cNvPr>
          <p:cNvSpPr/>
          <p:nvPr/>
        </p:nvSpPr>
        <p:spPr>
          <a:xfrm>
            <a:off x="442913" y="1819275"/>
            <a:ext cx="6771498"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tx1"/>
                </a:solidFill>
              </a:rPr>
              <a:t>Kā rīkoties, ja notikusi bīstamo ķīmisko vielu noplūde vai radiācijas avārija un Jūs atrodaties ārpus telpām?</a:t>
            </a:r>
          </a:p>
        </p:txBody>
      </p:sp>
      <p:sp>
        <p:nvSpPr>
          <p:cNvPr id="10" name="Rectangle 9">
            <a:extLst>
              <a:ext uri="{FF2B5EF4-FFF2-40B4-BE49-F238E27FC236}">
                <a16:creationId xmlns:a16="http://schemas.microsoft.com/office/drawing/2014/main" id="{09A66239-710D-C797-94B6-F20E65399ECA}"/>
              </a:ext>
            </a:extLst>
          </p:cNvPr>
          <p:cNvSpPr/>
          <p:nvPr/>
        </p:nvSpPr>
        <p:spPr>
          <a:xfrm>
            <a:off x="1107652" y="2538660"/>
            <a:ext cx="6753647" cy="74751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trodoties notikuma epicentrā vai tā tuvumā, nostājieties perpendikulāri 90° vēja virzienam (tā, lai vējš pūš no sāna) un ejiet vismaz 800 metrus uz priekšu ārā no bīstamās zonas.</a:t>
            </a:r>
          </a:p>
        </p:txBody>
      </p:sp>
      <p:sp>
        <p:nvSpPr>
          <p:cNvPr id="11" name="Rectangle 10">
            <a:extLst>
              <a:ext uri="{FF2B5EF4-FFF2-40B4-BE49-F238E27FC236}">
                <a16:creationId xmlns:a16="http://schemas.microsoft.com/office/drawing/2014/main" id="{DF44B9F5-A23A-A199-5024-09C0BB98E9FD}"/>
              </a:ext>
            </a:extLst>
          </p:cNvPr>
          <p:cNvSpPr/>
          <p:nvPr/>
        </p:nvSpPr>
        <p:spPr>
          <a:xfrm>
            <a:off x="442913" y="2538660"/>
            <a:ext cx="576263" cy="74751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L-Shape 12">
            <a:extLst>
              <a:ext uri="{FF2B5EF4-FFF2-40B4-BE49-F238E27FC236}">
                <a16:creationId xmlns:a16="http://schemas.microsoft.com/office/drawing/2014/main" id="{E00438AE-81BF-47E9-E73D-4727037CE6F2}"/>
              </a:ext>
            </a:extLst>
          </p:cNvPr>
          <p:cNvSpPr/>
          <p:nvPr/>
        </p:nvSpPr>
        <p:spPr>
          <a:xfrm rot="13500000">
            <a:off x="559307" y="277603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4" name="Straight Connector 13">
            <a:extLst>
              <a:ext uri="{FF2B5EF4-FFF2-40B4-BE49-F238E27FC236}">
                <a16:creationId xmlns:a16="http://schemas.microsoft.com/office/drawing/2014/main" id="{A736938D-F235-47FD-D36B-86BAEE410CD3}"/>
              </a:ext>
            </a:extLst>
          </p:cNvPr>
          <p:cNvCxnSpPr>
            <a:cxnSpLocks/>
          </p:cNvCxnSpPr>
          <p:nvPr/>
        </p:nvCxnSpPr>
        <p:spPr>
          <a:xfrm>
            <a:off x="1107653" y="3346668"/>
            <a:ext cx="675364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341523F5-B6D8-110E-BD6D-466F42BD4636}"/>
              </a:ext>
            </a:extLst>
          </p:cNvPr>
          <p:cNvSpPr/>
          <p:nvPr/>
        </p:nvSpPr>
        <p:spPr>
          <a:xfrm>
            <a:off x="7285299" y="1819275"/>
            <a:ext cx="576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16" name="Rectangle 15">
            <a:extLst>
              <a:ext uri="{FF2B5EF4-FFF2-40B4-BE49-F238E27FC236}">
                <a16:creationId xmlns:a16="http://schemas.microsoft.com/office/drawing/2014/main" id="{8B99A8E4-64B4-4B4E-9D60-2E884C7E67F2}"/>
              </a:ext>
            </a:extLst>
          </p:cNvPr>
          <p:cNvSpPr/>
          <p:nvPr/>
        </p:nvSpPr>
        <p:spPr>
          <a:xfrm>
            <a:off x="7214411" y="1819275"/>
            <a:ext cx="72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7" name="Straight Connector 16">
            <a:extLst>
              <a:ext uri="{FF2B5EF4-FFF2-40B4-BE49-F238E27FC236}">
                <a16:creationId xmlns:a16="http://schemas.microsoft.com/office/drawing/2014/main" id="{73DA4EAD-162E-F387-1E89-ABE8D2E43A2D}"/>
              </a:ext>
            </a:extLst>
          </p:cNvPr>
          <p:cNvCxnSpPr>
            <a:cxnSpLocks/>
          </p:cNvCxnSpPr>
          <p:nvPr/>
        </p:nvCxnSpPr>
        <p:spPr>
          <a:xfrm>
            <a:off x="1107653" y="3974881"/>
            <a:ext cx="6753054" cy="367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313D54A1-0344-1EC5-3B59-D2AD1FED901F}"/>
              </a:ext>
            </a:extLst>
          </p:cNvPr>
          <p:cNvCxnSpPr>
            <a:cxnSpLocks/>
          </p:cNvCxnSpPr>
          <p:nvPr/>
        </p:nvCxnSpPr>
        <p:spPr>
          <a:xfrm>
            <a:off x="1107653" y="4731072"/>
            <a:ext cx="6753054" cy="367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66D06255-7186-060D-F914-CECA2180FF5C}"/>
              </a:ext>
            </a:extLst>
          </p:cNvPr>
          <p:cNvCxnSpPr>
            <a:cxnSpLocks/>
          </p:cNvCxnSpPr>
          <p:nvPr/>
        </p:nvCxnSpPr>
        <p:spPr>
          <a:xfrm>
            <a:off x="1107653" y="5487263"/>
            <a:ext cx="6753054" cy="367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817A0D4C-D58E-C90E-2076-D2CAE458DB07}"/>
              </a:ext>
            </a:extLst>
          </p:cNvPr>
          <p:cNvSpPr/>
          <p:nvPr/>
        </p:nvSpPr>
        <p:spPr>
          <a:xfrm>
            <a:off x="1107653" y="3407364"/>
            <a:ext cx="6753054" cy="4984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Informējiet citus par notikušo.</a:t>
            </a:r>
          </a:p>
        </p:txBody>
      </p:sp>
      <p:sp>
        <p:nvSpPr>
          <p:cNvPr id="21" name="Rectangle 20">
            <a:extLst>
              <a:ext uri="{FF2B5EF4-FFF2-40B4-BE49-F238E27FC236}">
                <a16:creationId xmlns:a16="http://schemas.microsoft.com/office/drawing/2014/main" id="{8E7FE903-AF5E-C170-6243-035D5D1DF699}"/>
              </a:ext>
            </a:extLst>
          </p:cNvPr>
          <p:cNvSpPr/>
          <p:nvPr/>
        </p:nvSpPr>
        <p:spPr>
          <a:xfrm>
            <a:off x="1107653" y="4047815"/>
            <a:ext cx="675305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eaiztieciet šķidras vai cietas ķīmiskas vielas, neejiet dūmu vai miglas mākonī. Atstājot piesārņoto teritoriju, aizklājiet muti ar audumu vai apģērbu.</a:t>
            </a:r>
          </a:p>
        </p:txBody>
      </p:sp>
      <p:sp>
        <p:nvSpPr>
          <p:cNvPr id="22" name="Rectangle 21">
            <a:extLst>
              <a:ext uri="{FF2B5EF4-FFF2-40B4-BE49-F238E27FC236}">
                <a16:creationId xmlns:a16="http://schemas.microsoft.com/office/drawing/2014/main" id="{3175BAF5-8B83-02AB-BA0E-05A959B921B4}"/>
              </a:ext>
            </a:extLst>
          </p:cNvPr>
          <p:cNvSpPr/>
          <p:nvPr/>
        </p:nvSpPr>
        <p:spPr>
          <a:xfrm>
            <a:off x="1107653" y="4804006"/>
            <a:ext cx="675305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Ja esiet bijis pakļauts bīstamo vielu ietekmei un ir slikta pašsajūta, vērsieties pēc palīdzības pie medicīnas darbiniekiem.</a:t>
            </a:r>
          </a:p>
        </p:txBody>
      </p:sp>
      <p:sp>
        <p:nvSpPr>
          <p:cNvPr id="24" name="Rectangle 23">
            <a:extLst>
              <a:ext uri="{FF2B5EF4-FFF2-40B4-BE49-F238E27FC236}">
                <a16:creationId xmlns:a16="http://schemas.microsoft.com/office/drawing/2014/main" id="{0FFE8E1F-D4A6-4A00-83F0-7BA72605D4CF}"/>
              </a:ext>
            </a:extLst>
          </p:cNvPr>
          <p:cNvSpPr/>
          <p:nvPr/>
        </p:nvSpPr>
        <p:spPr>
          <a:xfrm>
            <a:off x="1107653" y="5560198"/>
            <a:ext cx="675305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tgriezieties telpās tikai pēc operatīvo dienestu darbinieku atļaujas. Atveriet logus, lai izvēdinātu telpas.</a:t>
            </a:r>
          </a:p>
        </p:txBody>
      </p:sp>
      <p:sp>
        <p:nvSpPr>
          <p:cNvPr id="25" name="Rectangle 24">
            <a:extLst>
              <a:ext uri="{FF2B5EF4-FFF2-40B4-BE49-F238E27FC236}">
                <a16:creationId xmlns:a16="http://schemas.microsoft.com/office/drawing/2014/main" id="{65252F37-AAFD-36B4-8412-49AED4BC1668}"/>
              </a:ext>
            </a:extLst>
          </p:cNvPr>
          <p:cNvSpPr/>
          <p:nvPr/>
        </p:nvSpPr>
        <p:spPr>
          <a:xfrm>
            <a:off x="442913" y="3407160"/>
            <a:ext cx="576263" cy="49888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6" name="L-Shape 25">
            <a:extLst>
              <a:ext uri="{FF2B5EF4-FFF2-40B4-BE49-F238E27FC236}">
                <a16:creationId xmlns:a16="http://schemas.microsoft.com/office/drawing/2014/main" id="{76CA692F-E46D-56C4-660A-DE2961DD0DC0}"/>
              </a:ext>
            </a:extLst>
          </p:cNvPr>
          <p:cNvSpPr/>
          <p:nvPr/>
        </p:nvSpPr>
        <p:spPr>
          <a:xfrm rot="13500000">
            <a:off x="559307" y="352021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Rectangle 26">
            <a:extLst>
              <a:ext uri="{FF2B5EF4-FFF2-40B4-BE49-F238E27FC236}">
                <a16:creationId xmlns:a16="http://schemas.microsoft.com/office/drawing/2014/main" id="{C3904226-BC52-7EEB-17E4-9D5BBA060485}"/>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8" name="L-Shape 27">
            <a:extLst>
              <a:ext uri="{FF2B5EF4-FFF2-40B4-BE49-F238E27FC236}">
                <a16:creationId xmlns:a16="http://schemas.microsoft.com/office/drawing/2014/main" id="{F34ED5F3-692C-B7A2-E174-CC13B6AE02CB}"/>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Rectangle 28">
            <a:extLst>
              <a:ext uri="{FF2B5EF4-FFF2-40B4-BE49-F238E27FC236}">
                <a16:creationId xmlns:a16="http://schemas.microsoft.com/office/drawing/2014/main" id="{513B3D2D-CE2B-998E-5C33-317F744DFD24}"/>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12F3126A-C10D-8AD3-0992-976DE7E7725B}"/>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Rectangle 30">
            <a:extLst>
              <a:ext uri="{FF2B5EF4-FFF2-40B4-BE49-F238E27FC236}">
                <a16:creationId xmlns:a16="http://schemas.microsoft.com/office/drawing/2014/main" id="{81AADF20-6B15-BD93-E6FB-FE22A6F5C8F1}"/>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L-Shape 31">
            <a:extLst>
              <a:ext uri="{FF2B5EF4-FFF2-40B4-BE49-F238E27FC236}">
                <a16:creationId xmlns:a16="http://schemas.microsoft.com/office/drawing/2014/main" id="{08F92877-4A88-FDFC-73C4-1CBAE3805A1C}"/>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43" name="Picture 42">
            <a:extLst>
              <a:ext uri="{FF2B5EF4-FFF2-40B4-BE49-F238E27FC236}">
                <a16:creationId xmlns:a16="http://schemas.microsoft.com/office/drawing/2014/main" id="{DE7883B9-B3FB-0916-288C-4F40B8BD322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218488" y="1819275"/>
            <a:ext cx="3530600" cy="4352922"/>
          </a:xfrm>
          <a:prstGeom prst="rect">
            <a:avLst/>
          </a:prstGeom>
        </p:spPr>
      </p:pic>
      <p:sp>
        <p:nvSpPr>
          <p:cNvPr id="45" name="Google Shape;1023;p85">
            <a:extLst>
              <a:ext uri="{FF2B5EF4-FFF2-40B4-BE49-F238E27FC236}">
                <a16:creationId xmlns:a16="http://schemas.microsoft.com/office/drawing/2014/main" id="{05FBC0AA-91A2-6700-B647-A7532826E011}"/>
              </a:ext>
            </a:extLst>
          </p:cNvPr>
          <p:cNvSpPr/>
          <p:nvPr/>
        </p:nvSpPr>
        <p:spPr>
          <a:xfrm>
            <a:off x="7429299" y="1963275"/>
            <a:ext cx="288000" cy="288000"/>
          </a:xfrm>
          <a:custGeom>
            <a:avLst/>
            <a:gdLst/>
            <a:ahLst/>
            <a:cxnLst/>
            <a:rect l="l" t="t" r="r" b="b"/>
            <a:pathLst>
              <a:path w="453744" h="453590" extrusionOk="0">
                <a:moveTo>
                  <a:pt x="0" y="0"/>
                </a:moveTo>
                <a:lnTo>
                  <a:pt x="0" y="453590"/>
                </a:lnTo>
                <a:lnTo>
                  <a:pt x="453744" y="453590"/>
                </a:lnTo>
                <a:lnTo>
                  <a:pt x="453744" y="0"/>
                </a:lnTo>
                <a:close/>
                <a:moveTo>
                  <a:pt x="434397" y="434250"/>
                </a:moveTo>
                <a:lnTo>
                  <a:pt x="19347" y="434250"/>
                </a:lnTo>
                <a:lnTo>
                  <a:pt x="19347" y="19341"/>
                </a:lnTo>
                <a:lnTo>
                  <a:pt x="434397" y="19341"/>
                </a:lnTo>
                <a:close/>
                <a:moveTo>
                  <a:pt x="236325" y="215203"/>
                </a:moveTo>
                <a:lnTo>
                  <a:pt x="236325" y="254168"/>
                </a:lnTo>
                <a:lnTo>
                  <a:pt x="225423" y="254168"/>
                </a:lnTo>
                <a:lnTo>
                  <a:pt x="225423" y="215203"/>
                </a:lnTo>
                <a:close/>
                <a:moveTo>
                  <a:pt x="230874" y="268532"/>
                </a:moveTo>
                <a:cubicBezTo>
                  <a:pt x="235399" y="268513"/>
                  <a:pt x="239079" y="272167"/>
                  <a:pt x="239098" y="276690"/>
                </a:cubicBezTo>
                <a:cubicBezTo>
                  <a:pt x="239114" y="281213"/>
                  <a:pt x="235462" y="284892"/>
                  <a:pt x="230937" y="284911"/>
                </a:cubicBezTo>
                <a:cubicBezTo>
                  <a:pt x="226412" y="284927"/>
                  <a:pt x="222732" y="281276"/>
                  <a:pt x="222713" y="276753"/>
                </a:cubicBezTo>
                <a:cubicBezTo>
                  <a:pt x="222713" y="276731"/>
                  <a:pt x="222713" y="276712"/>
                  <a:pt x="222713" y="276690"/>
                </a:cubicBezTo>
                <a:cubicBezTo>
                  <a:pt x="222713" y="272186"/>
                  <a:pt x="226368" y="268532"/>
                  <a:pt x="230874" y="268532"/>
                </a:cubicBezTo>
                <a:close/>
                <a:moveTo>
                  <a:pt x="293390" y="80670"/>
                </a:moveTo>
                <a:lnTo>
                  <a:pt x="264779" y="80670"/>
                </a:lnTo>
                <a:lnTo>
                  <a:pt x="264779" y="69456"/>
                </a:lnTo>
                <a:lnTo>
                  <a:pt x="293390" y="69456"/>
                </a:lnTo>
                <a:close/>
                <a:moveTo>
                  <a:pt x="215592" y="172805"/>
                </a:moveTo>
                <a:lnTo>
                  <a:pt x="131334" y="172805"/>
                </a:lnTo>
                <a:lnTo>
                  <a:pt x="130514" y="100073"/>
                </a:lnTo>
                <a:lnTo>
                  <a:pt x="323041" y="100073"/>
                </a:lnTo>
                <a:lnTo>
                  <a:pt x="323041" y="172805"/>
                </a:lnTo>
                <a:lnTo>
                  <a:pt x="246251" y="172805"/>
                </a:lnTo>
                <a:lnTo>
                  <a:pt x="239949" y="161812"/>
                </a:lnTo>
                <a:cubicBezTo>
                  <a:pt x="237085" y="156835"/>
                  <a:pt x="230726" y="155125"/>
                  <a:pt x="225750" y="157988"/>
                </a:cubicBezTo>
                <a:cubicBezTo>
                  <a:pt x="224159" y="158905"/>
                  <a:pt x="222839" y="160221"/>
                  <a:pt x="221925" y="161812"/>
                </a:cubicBezTo>
                <a:close/>
                <a:moveTo>
                  <a:pt x="257531" y="192240"/>
                </a:moveTo>
                <a:lnTo>
                  <a:pt x="323261" y="192240"/>
                </a:lnTo>
                <a:lnTo>
                  <a:pt x="323419" y="279367"/>
                </a:lnTo>
                <a:lnTo>
                  <a:pt x="307853" y="279367"/>
                </a:lnTo>
                <a:close/>
                <a:moveTo>
                  <a:pt x="154021" y="279367"/>
                </a:moveTo>
                <a:lnTo>
                  <a:pt x="132437" y="279367"/>
                </a:lnTo>
                <a:lnTo>
                  <a:pt x="131586" y="192240"/>
                </a:lnTo>
                <a:lnTo>
                  <a:pt x="204374" y="192240"/>
                </a:lnTo>
                <a:close/>
                <a:moveTo>
                  <a:pt x="323450" y="298803"/>
                </a:moveTo>
                <a:lnTo>
                  <a:pt x="323450" y="376102"/>
                </a:lnTo>
                <a:lnTo>
                  <a:pt x="133287" y="376102"/>
                </a:lnTo>
                <a:lnTo>
                  <a:pt x="132563" y="298803"/>
                </a:lnTo>
                <a:lnTo>
                  <a:pt x="143717" y="298803"/>
                </a:lnTo>
                <a:cubicBezTo>
                  <a:pt x="143074" y="304526"/>
                  <a:pt x="147193" y="309686"/>
                  <a:pt x="152915" y="310328"/>
                </a:cubicBezTo>
                <a:cubicBezTo>
                  <a:pt x="153303" y="310372"/>
                  <a:pt x="153693" y="310394"/>
                  <a:pt x="154084" y="310394"/>
                </a:cubicBezTo>
                <a:lnTo>
                  <a:pt x="307695" y="310394"/>
                </a:lnTo>
                <a:cubicBezTo>
                  <a:pt x="313455" y="310379"/>
                  <a:pt x="318113" y="305698"/>
                  <a:pt x="318097" y="299940"/>
                </a:cubicBezTo>
                <a:cubicBezTo>
                  <a:pt x="318094" y="299559"/>
                  <a:pt x="318072" y="299181"/>
                  <a:pt x="318031" y="298803"/>
                </a:cubicBezTo>
                <a:close/>
                <a:moveTo>
                  <a:pt x="348658" y="100073"/>
                </a:moveTo>
                <a:lnTo>
                  <a:pt x="348658" y="80701"/>
                </a:lnTo>
                <a:lnTo>
                  <a:pt x="306403" y="80701"/>
                </a:lnTo>
                <a:lnTo>
                  <a:pt x="306403" y="55880"/>
                </a:lnTo>
                <a:lnTo>
                  <a:pt x="251229" y="55880"/>
                </a:lnTo>
                <a:lnTo>
                  <a:pt x="251229" y="80701"/>
                </a:lnTo>
                <a:lnTo>
                  <a:pt x="105117" y="80701"/>
                </a:lnTo>
                <a:lnTo>
                  <a:pt x="105117" y="100073"/>
                </a:lnTo>
                <a:lnTo>
                  <a:pt x="111167" y="100073"/>
                </a:lnTo>
                <a:lnTo>
                  <a:pt x="112270" y="172805"/>
                </a:lnTo>
                <a:lnTo>
                  <a:pt x="104771" y="172805"/>
                </a:lnTo>
                <a:lnTo>
                  <a:pt x="104771" y="192240"/>
                </a:lnTo>
                <a:lnTo>
                  <a:pt x="112554" y="192240"/>
                </a:lnTo>
                <a:lnTo>
                  <a:pt x="113846" y="279367"/>
                </a:lnTo>
                <a:lnTo>
                  <a:pt x="104771" y="279367"/>
                </a:lnTo>
                <a:lnTo>
                  <a:pt x="104771" y="298803"/>
                </a:lnTo>
                <a:lnTo>
                  <a:pt x="114224" y="298803"/>
                </a:lnTo>
                <a:lnTo>
                  <a:pt x="115390" y="376511"/>
                </a:lnTo>
                <a:lnTo>
                  <a:pt x="104865" y="376511"/>
                </a:lnTo>
                <a:lnTo>
                  <a:pt x="104865" y="395915"/>
                </a:lnTo>
                <a:lnTo>
                  <a:pt x="348532" y="395915"/>
                </a:lnTo>
                <a:lnTo>
                  <a:pt x="348532" y="376511"/>
                </a:lnTo>
                <a:lnTo>
                  <a:pt x="341443" y="376511"/>
                </a:lnTo>
                <a:lnTo>
                  <a:pt x="341758" y="298803"/>
                </a:lnTo>
                <a:lnTo>
                  <a:pt x="348532" y="298803"/>
                </a:lnTo>
                <a:lnTo>
                  <a:pt x="348532" y="279367"/>
                </a:lnTo>
                <a:lnTo>
                  <a:pt x="341632" y="279367"/>
                </a:lnTo>
                <a:lnTo>
                  <a:pt x="342010" y="192240"/>
                </a:lnTo>
                <a:lnTo>
                  <a:pt x="348312" y="192240"/>
                </a:lnTo>
                <a:lnTo>
                  <a:pt x="348312" y="172805"/>
                </a:lnTo>
                <a:lnTo>
                  <a:pt x="342010" y="172805"/>
                </a:lnTo>
                <a:lnTo>
                  <a:pt x="342325" y="100073"/>
                </a:lnTo>
                <a:close/>
                <a:moveTo>
                  <a:pt x="298746" y="294771"/>
                </a:moveTo>
                <a:lnTo>
                  <a:pt x="163253" y="294771"/>
                </a:lnTo>
                <a:lnTo>
                  <a:pt x="231000" y="177436"/>
                </a:ln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Tree>
    <p:extLst>
      <p:ext uri="{BB962C8B-B14F-4D97-AF65-F5344CB8AC3E}">
        <p14:creationId xmlns:p14="http://schemas.microsoft.com/office/powerpoint/2010/main" val="33698524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82">
            <a:extLst>
              <a:ext uri="{FF2B5EF4-FFF2-40B4-BE49-F238E27FC236}">
                <a16:creationId xmlns:a16="http://schemas.microsoft.com/office/drawing/2014/main" id="{14BD0C39-0D32-1338-8EBC-F334088BEFD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75387" y="3736687"/>
            <a:ext cx="5473699" cy="2446972"/>
          </a:xfrm>
          <a:prstGeom prst="rect">
            <a:avLst/>
          </a:prstGeom>
        </p:spPr>
      </p:pic>
      <p:sp>
        <p:nvSpPr>
          <p:cNvPr id="45" name="Rectangle 44">
            <a:extLst>
              <a:ext uri="{FF2B5EF4-FFF2-40B4-BE49-F238E27FC236}">
                <a16:creationId xmlns:a16="http://schemas.microsoft.com/office/drawing/2014/main" id="{1110B235-F955-EA3B-FC0E-F99459354174}"/>
              </a:ext>
            </a:extLst>
          </p:cNvPr>
          <p:cNvSpPr/>
          <p:nvPr/>
        </p:nvSpPr>
        <p:spPr>
          <a:xfrm>
            <a:off x="6275388" y="1819275"/>
            <a:ext cx="4825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bg1"/>
                </a:solidFill>
              </a:rPr>
              <a:t>Kā rīkoties, ja notikusi bīstamo ķīmisko vielu noplūde vai radiācijas avārija, braucot ar automašīnu?</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Bīstamo ķīmisko vielu noplūde objektā</a:t>
            </a:r>
            <a:br>
              <a:rPr lang="lv-LV"/>
            </a:br>
            <a:r>
              <a:rPr lang="lv-LV">
                <a:solidFill>
                  <a:srgbClr val="A8192D"/>
                </a:solidFill>
              </a:rPr>
              <a:t>Kā rīkoties? </a:t>
            </a:r>
            <a:r>
              <a:rPr lang="en-US">
                <a:solidFill>
                  <a:srgbClr val="A8192D"/>
                </a:solidFill>
              </a:rPr>
              <a:t>(</a:t>
            </a:r>
            <a:r>
              <a:rPr lang="lv-LV">
                <a:solidFill>
                  <a:srgbClr val="A8192D"/>
                </a:solidFill>
              </a:rPr>
              <a:t>2</a:t>
            </a:r>
            <a:r>
              <a:rPr lang="en-US">
                <a:solidFill>
                  <a:srgbClr val="A8192D"/>
                </a:solidFill>
              </a:rPr>
              <a:t>/2)</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3</a:t>
            </a:fld>
            <a:endParaRPr lang="en-GB"/>
          </a:p>
        </p:txBody>
      </p:sp>
      <p:sp>
        <p:nvSpPr>
          <p:cNvPr id="9" name="Rectangle 8">
            <a:extLst>
              <a:ext uri="{FF2B5EF4-FFF2-40B4-BE49-F238E27FC236}">
                <a16:creationId xmlns:a16="http://schemas.microsoft.com/office/drawing/2014/main" id="{1E6D5DC2-11CC-0E32-FD1E-5E930DBDAF6F}"/>
              </a:ext>
            </a:extLst>
          </p:cNvPr>
          <p:cNvSpPr/>
          <p:nvPr/>
        </p:nvSpPr>
        <p:spPr>
          <a:xfrm>
            <a:off x="442913" y="1819275"/>
            <a:ext cx="5031912"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bg1"/>
                </a:solidFill>
              </a:rPr>
              <a:t>Kā rīkoties, ja notikusi bīstamo ķīmisko vielu noplūde vai radiācijas avārija un Jūs atrodaties ēkā?</a:t>
            </a:r>
          </a:p>
        </p:txBody>
      </p:sp>
      <p:sp>
        <p:nvSpPr>
          <p:cNvPr id="10" name="Rectangle 9">
            <a:extLst>
              <a:ext uri="{FF2B5EF4-FFF2-40B4-BE49-F238E27FC236}">
                <a16:creationId xmlns:a16="http://schemas.microsoft.com/office/drawing/2014/main" id="{09A66239-710D-C797-94B6-F20E65399ECA}"/>
              </a:ext>
            </a:extLst>
          </p:cNvPr>
          <p:cNvSpPr/>
          <p:nvPr/>
        </p:nvSpPr>
        <p:spPr>
          <a:xfrm>
            <a:off x="1107652" y="2538660"/>
            <a:ext cx="498834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Palieciet ēkā.</a:t>
            </a:r>
          </a:p>
        </p:txBody>
      </p:sp>
      <p:sp>
        <p:nvSpPr>
          <p:cNvPr id="11" name="Rectangle 10">
            <a:extLst>
              <a:ext uri="{FF2B5EF4-FFF2-40B4-BE49-F238E27FC236}">
                <a16:creationId xmlns:a16="http://schemas.microsoft.com/office/drawing/2014/main" id="{DF44B9F5-A23A-A199-5024-09C0BB98E9FD}"/>
              </a:ext>
            </a:extLst>
          </p:cNvPr>
          <p:cNvSpPr/>
          <p:nvPr/>
        </p:nvSpPr>
        <p:spPr>
          <a:xfrm>
            <a:off x="442913"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L-Shape 12">
            <a:extLst>
              <a:ext uri="{FF2B5EF4-FFF2-40B4-BE49-F238E27FC236}">
                <a16:creationId xmlns:a16="http://schemas.microsoft.com/office/drawing/2014/main" id="{E00438AE-81BF-47E9-E73D-4727037CE6F2}"/>
              </a:ext>
            </a:extLst>
          </p:cNvPr>
          <p:cNvSpPr/>
          <p:nvPr/>
        </p:nvSpPr>
        <p:spPr>
          <a:xfrm rot="13500000">
            <a:off x="559307"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4" name="Straight Connector 13">
            <a:extLst>
              <a:ext uri="{FF2B5EF4-FFF2-40B4-BE49-F238E27FC236}">
                <a16:creationId xmlns:a16="http://schemas.microsoft.com/office/drawing/2014/main" id="{A736938D-F235-47FD-D36B-86BAEE410CD3}"/>
              </a:ext>
            </a:extLst>
          </p:cNvPr>
          <p:cNvCxnSpPr>
            <a:cxnSpLocks/>
          </p:cNvCxnSpPr>
          <p:nvPr/>
        </p:nvCxnSpPr>
        <p:spPr>
          <a:xfrm>
            <a:off x="1107653" y="3037446"/>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341523F5-B6D8-110E-BD6D-466F42BD4636}"/>
              </a:ext>
            </a:extLst>
          </p:cNvPr>
          <p:cNvSpPr/>
          <p:nvPr/>
        </p:nvSpPr>
        <p:spPr>
          <a:xfrm>
            <a:off x="5519999"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16" name="Rectangle 15">
            <a:extLst>
              <a:ext uri="{FF2B5EF4-FFF2-40B4-BE49-F238E27FC236}">
                <a16:creationId xmlns:a16="http://schemas.microsoft.com/office/drawing/2014/main" id="{8B99A8E4-64B4-4B4E-9D60-2E884C7E67F2}"/>
              </a:ext>
            </a:extLst>
          </p:cNvPr>
          <p:cNvSpPr/>
          <p:nvPr/>
        </p:nvSpPr>
        <p:spPr>
          <a:xfrm>
            <a:off x="5449111"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7" name="Straight Connector 16">
            <a:extLst>
              <a:ext uri="{FF2B5EF4-FFF2-40B4-BE49-F238E27FC236}">
                <a16:creationId xmlns:a16="http://schemas.microsoft.com/office/drawing/2014/main" id="{73DA4EAD-162E-F387-1E89-ABE8D2E43A2D}"/>
              </a:ext>
            </a:extLst>
          </p:cNvPr>
          <p:cNvCxnSpPr>
            <a:cxnSpLocks/>
          </p:cNvCxnSpPr>
          <p:nvPr/>
        </p:nvCxnSpPr>
        <p:spPr>
          <a:xfrm>
            <a:off x="1107653" y="3669901"/>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313D54A1-0344-1EC5-3B59-D2AD1FED901F}"/>
              </a:ext>
            </a:extLst>
          </p:cNvPr>
          <p:cNvCxnSpPr>
            <a:cxnSpLocks/>
          </p:cNvCxnSpPr>
          <p:nvPr/>
        </p:nvCxnSpPr>
        <p:spPr>
          <a:xfrm>
            <a:off x="1107653" y="4531236"/>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66D06255-7186-060D-F914-CECA2180FF5C}"/>
              </a:ext>
            </a:extLst>
          </p:cNvPr>
          <p:cNvCxnSpPr>
            <a:cxnSpLocks/>
          </p:cNvCxnSpPr>
          <p:nvPr/>
        </p:nvCxnSpPr>
        <p:spPr>
          <a:xfrm>
            <a:off x="1107653" y="5100486"/>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817A0D4C-D58E-C90E-2076-D2CAE458DB07}"/>
              </a:ext>
            </a:extLst>
          </p:cNvPr>
          <p:cNvSpPr/>
          <p:nvPr/>
        </p:nvSpPr>
        <p:spPr>
          <a:xfrm>
            <a:off x="1107652" y="3104436"/>
            <a:ext cx="4987909" cy="4984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izveriet ārdurvis, iekšdurvis, logus un visas iespējamās atveres, lai gaiss no ārpuses neieplūst telpās.</a:t>
            </a:r>
          </a:p>
        </p:txBody>
      </p:sp>
      <p:sp>
        <p:nvSpPr>
          <p:cNvPr id="25" name="Rectangle 24">
            <a:extLst>
              <a:ext uri="{FF2B5EF4-FFF2-40B4-BE49-F238E27FC236}">
                <a16:creationId xmlns:a16="http://schemas.microsoft.com/office/drawing/2014/main" id="{65252F37-AAFD-36B4-8412-49AED4BC1668}"/>
              </a:ext>
            </a:extLst>
          </p:cNvPr>
          <p:cNvSpPr/>
          <p:nvPr/>
        </p:nvSpPr>
        <p:spPr>
          <a:xfrm>
            <a:off x="442913" y="3104232"/>
            <a:ext cx="576263" cy="49888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6" name="L-Shape 25">
            <a:extLst>
              <a:ext uri="{FF2B5EF4-FFF2-40B4-BE49-F238E27FC236}">
                <a16:creationId xmlns:a16="http://schemas.microsoft.com/office/drawing/2014/main" id="{76CA692F-E46D-56C4-660A-DE2961DD0DC0}"/>
              </a:ext>
            </a:extLst>
          </p:cNvPr>
          <p:cNvSpPr/>
          <p:nvPr/>
        </p:nvSpPr>
        <p:spPr>
          <a:xfrm rot="13500000">
            <a:off x="559307" y="32172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Rectangle 20">
            <a:extLst>
              <a:ext uri="{FF2B5EF4-FFF2-40B4-BE49-F238E27FC236}">
                <a16:creationId xmlns:a16="http://schemas.microsoft.com/office/drawing/2014/main" id="{8E7FE903-AF5E-C170-6243-035D5D1DF699}"/>
              </a:ext>
            </a:extLst>
          </p:cNvPr>
          <p:cNvSpPr/>
          <p:nvPr/>
        </p:nvSpPr>
        <p:spPr>
          <a:xfrm>
            <a:off x="1107652" y="3740365"/>
            <a:ext cx="4987909" cy="72408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Noslēdziet vai izslēdziet ventilāciju, gaisa kondicionierus, aiztaisiet ar līmlenti, plēvi vai alumīnija foliju atveres </a:t>
            </a:r>
            <a:r>
              <a:rPr lang="lv-LV" sz="1400" b="0" i="0" err="1">
                <a:solidFill>
                  <a:srgbClr val="212529"/>
                </a:solidFill>
                <a:effectLst/>
              </a:rPr>
              <a:t>nosūces</a:t>
            </a:r>
            <a:r>
              <a:rPr lang="lv-LV" sz="1400" b="0" i="0">
                <a:solidFill>
                  <a:srgbClr val="212529"/>
                </a:solidFill>
                <a:effectLst/>
              </a:rPr>
              <a:t> mehānismiem virtuvē, vannas istabā un citās telpās.</a:t>
            </a:r>
          </a:p>
        </p:txBody>
      </p:sp>
      <p:sp>
        <p:nvSpPr>
          <p:cNvPr id="27" name="Rectangle 26">
            <a:extLst>
              <a:ext uri="{FF2B5EF4-FFF2-40B4-BE49-F238E27FC236}">
                <a16:creationId xmlns:a16="http://schemas.microsoft.com/office/drawing/2014/main" id="{C3904226-BC52-7EEB-17E4-9D5BBA060485}"/>
              </a:ext>
            </a:extLst>
          </p:cNvPr>
          <p:cNvSpPr/>
          <p:nvPr/>
        </p:nvSpPr>
        <p:spPr>
          <a:xfrm>
            <a:off x="442913" y="3740823"/>
            <a:ext cx="576263" cy="72316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8" name="L-Shape 27">
            <a:extLst>
              <a:ext uri="{FF2B5EF4-FFF2-40B4-BE49-F238E27FC236}">
                <a16:creationId xmlns:a16="http://schemas.microsoft.com/office/drawing/2014/main" id="{F34ED5F3-692C-B7A2-E174-CC13B6AE02CB}"/>
              </a:ext>
            </a:extLst>
          </p:cNvPr>
          <p:cNvSpPr/>
          <p:nvPr/>
        </p:nvSpPr>
        <p:spPr>
          <a:xfrm rot="13500000">
            <a:off x="559307" y="396601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Rectangle 21">
            <a:extLst>
              <a:ext uri="{FF2B5EF4-FFF2-40B4-BE49-F238E27FC236}">
                <a16:creationId xmlns:a16="http://schemas.microsoft.com/office/drawing/2014/main" id="{3175BAF5-8B83-02AB-BA0E-05A959B921B4}"/>
              </a:ext>
            </a:extLst>
          </p:cNvPr>
          <p:cNvSpPr/>
          <p:nvPr/>
        </p:nvSpPr>
        <p:spPr>
          <a:xfrm>
            <a:off x="1107652" y="4601700"/>
            <a:ext cx="4987909"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iztaisiet atveres zem durvīm ar mitriem dvieļiem vai plastmasas plēvi un līmlenti.</a:t>
            </a:r>
          </a:p>
        </p:txBody>
      </p:sp>
      <p:sp>
        <p:nvSpPr>
          <p:cNvPr id="29" name="Rectangle 28">
            <a:extLst>
              <a:ext uri="{FF2B5EF4-FFF2-40B4-BE49-F238E27FC236}">
                <a16:creationId xmlns:a16="http://schemas.microsoft.com/office/drawing/2014/main" id="{513B3D2D-CE2B-998E-5C33-317F744DFD24}"/>
              </a:ext>
            </a:extLst>
          </p:cNvPr>
          <p:cNvSpPr/>
          <p:nvPr/>
        </p:nvSpPr>
        <p:spPr>
          <a:xfrm>
            <a:off x="442913" y="460170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12F3126A-C10D-8AD3-0992-976DE7E7725B}"/>
              </a:ext>
            </a:extLst>
          </p:cNvPr>
          <p:cNvSpPr/>
          <p:nvPr/>
        </p:nvSpPr>
        <p:spPr>
          <a:xfrm rot="13500000">
            <a:off x="559307" y="46813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Rectangle 23">
            <a:extLst>
              <a:ext uri="{FF2B5EF4-FFF2-40B4-BE49-F238E27FC236}">
                <a16:creationId xmlns:a16="http://schemas.microsoft.com/office/drawing/2014/main" id="{0FFE8E1F-D4A6-4A00-83F0-7BA72605D4CF}"/>
              </a:ext>
            </a:extLst>
          </p:cNvPr>
          <p:cNvSpPr/>
          <p:nvPr/>
        </p:nvSpPr>
        <p:spPr>
          <a:xfrm>
            <a:off x="1107652" y="5170950"/>
            <a:ext cx="4987909"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Ejiet uz telpu, kas ir virs zemes līmeņa un kurai ir vismazāk atveres uz ārpusi.</a:t>
            </a:r>
          </a:p>
        </p:txBody>
      </p:sp>
      <p:sp>
        <p:nvSpPr>
          <p:cNvPr id="31" name="Rectangle 30">
            <a:extLst>
              <a:ext uri="{FF2B5EF4-FFF2-40B4-BE49-F238E27FC236}">
                <a16:creationId xmlns:a16="http://schemas.microsoft.com/office/drawing/2014/main" id="{81AADF20-6B15-BD93-E6FB-FE22A6F5C8F1}"/>
              </a:ext>
            </a:extLst>
          </p:cNvPr>
          <p:cNvSpPr/>
          <p:nvPr/>
        </p:nvSpPr>
        <p:spPr>
          <a:xfrm>
            <a:off x="442913" y="517095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L-Shape 31">
            <a:extLst>
              <a:ext uri="{FF2B5EF4-FFF2-40B4-BE49-F238E27FC236}">
                <a16:creationId xmlns:a16="http://schemas.microsoft.com/office/drawing/2014/main" id="{08F92877-4A88-FDFC-73C4-1CBAE3805A1C}"/>
              </a:ext>
            </a:extLst>
          </p:cNvPr>
          <p:cNvSpPr/>
          <p:nvPr/>
        </p:nvSpPr>
        <p:spPr>
          <a:xfrm rot="13500000">
            <a:off x="559307" y="525056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 name="Rectangle 2">
            <a:extLst>
              <a:ext uri="{FF2B5EF4-FFF2-40B4-BE49-F238E27FC236}">
                <a16:creationId xmlns:a16="http://schemas.microsoft.com/office/drawing/2014/main" id="{9DFCB2BB-7533-8AA1-1812-6910810F684C}"/>
              </a:ext>
            </a:extLst>
          </p:cNvPr>
          <p:cNvSpPr/>
          <p:nvPr/>
        </p:nvSpPr>
        <p:spPr>
          <a:xfrm>
            <a:off x="1107652" y="5740200"/>
            <a:ext cx="4987909"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Ja gāzes vai tvaiki iekļūst ēkā, veiciet seklas </a:t>
            </a:r>
            <a:r>
              <a:rPr lang="lv-LV" sz="1400" b="0" i="0" err="1">
                <a:solidFill>
                  <a:srgbClr val="212529"/>
                </a:solidFill>
                <a:effectLst/>
              </a:rPr>
              <a:t>ieelpas</a:t>
            </a:r>
            <a:r>
              <a:rPr lang="lv-LV" sz="1400" b="0" i="0">
                <a:solidFill>
                  <a:srgbClr val="212529"/>
                </a:solidFill>
                <a:effectLst/>
              </a:rPr>
              <a:t> caur dvieli vai citu audumu.</a:t>
            </a:r>
          </a:p>
        </p:txBody>
      </p:sp>
      <p:sp>
        <p:nvSpPr>
          <p:cNvPr id="5" name="Rectangle 4">
            <a:extLst>
              <a:ext uri="{FF2B5EF4-FFF2-40B4-BE49-F238E27FC236}">
                <a16:creationId xmlns:a16="http://schemas.microsoft.com/office/drawing/2014/main" id="{513E4803-37C1-64E1-5721-C207209A3CBF}"/>
              </a:ext>
            </a:extLst>
          </p:cNvPr>
          <p:cNvSpPr/>
          <p:nvPr/>
        </p:nvSpPr>
        <p:spPr>
          <a:xfrm>
            <a:off x="442913" y="574020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6E2FB499-7E29-92E2-F550-BFE50C2BCD34}"/>
              </a:ext>
            </a:extLst>
          </p:cNvPr>
          <p:cNvSpPr/>
          <p:nvPr/>
        </p:nvSpPr>
        <p:spPr>
          <a:xfrm rot="13500000">
            <a:off x="559307" y="5819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8" name="Straight Connector 37">
            <a:extLst>
              <a:ext uri="{FF2B5EF4-FFF2-40B4-BE49-F238E27FC236}">
                <a16:creationId xmlns:a16="http://schemas.microsoft.com/office/drawing/2014/main" id="{1F95807D-C34F-BA62-E99D-82ED27DD62C5}"/>
              </a:ext>
            </a:extLst>
          </p:cNvPr>
          <p:cNvCxnSpPr>
            <a:cxnSpLocks/>
          </p:cNvCxnSpPr>
          <p:nvPr/>
        </p:nvCxnSpPr>
        <p:spPr>
          <a:xfrm>
            <a:off x="1107653" y="5669736"/>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D697A073-4B67-4447-043A-F93B67624135}"/>
              </a:ext>
            </a:extLst>
          </p:cNvPr>
          <p:cNvSpPr/>
          <p:nvPr/>
        </p:nvSpPr>
        <p:spPr>
          <a:xfrm>
            <a:off x="6949430" y="2538660"/>
            <a:ext cx="480007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Apstājieties un meklējiet patvērumu ēkā.</a:t>
            </a:r>
          </a:p>
        </p:txBody>
      </p:sp>
      <p:sp>
        <p:nvSpPr>
          <p:cNvPr id="48" name="Rectangle 47">
            <a:extLst>
              <a:ext uri="{FF2B5EF4-FFF2-40B4-BE49-F238E27FC236}">
                <a16:creationId xmlns:a16="http://schemas.microsoft.com/office/drawing/2014/main" id="{67C26A5B-990D-36CA-DC15-B81F58F484FA}"/>
              </a:ext>
            </a:extLst>
          </p:cNvPr>
          <p:cNvSpPr/>
          <p:nvPr/>
        </p:nvSpPr>
        <p:spPr>
          <a:xfrm>
            <a:off x="6284691"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L-Shape 48">
            <a:extLst>
              <a:ext uri="{FF2B5EF4-FFF2-40B4-BE49-F238E27FC236}">
                <a16:creationId xmlns:a16="http://schemas.microsoft.com/office/drawing/2014/main" id="{DC519A94-585B-76F0-4147-1A5C643A6083}"/>
              </a:ext>
            </a:extLst>
          </p:cNvPr>
          <p:cNvSpPr/>
          <p:nvPr/>
        </p:nvSpPr>
        <p:spPr>
          <a:xfrm rot="13500000">
            <a:off x="6401085"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0" name="Straight Connector 49">
            <a:extLst>
              <a:ext uri="{FF2B5EF4-FFF2-40B4-BE49-F238E27FC236}">
                <a16:creationId xmlns:a16="http://schemas.microsoft.com/office/drawing/2014/main" id="{2E25A791-72D3-E3CA-C1AC-AD2AF6CDF088}"/>
              </a:ext>
            </a:extLst>
          </p:cNvPr>
          <p:cNvCxnSpPr>
            <a:cxnSpLocks/>
          </p:cNvCxnSpPr>
          <p:nvPr/>
        </p:nvCxnSpPr>
        <p:spPr>
          <a:xfrm>
            <a:off x="6949431" y="3037446"/>
            <a:ext cx="480007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1" name="Rectangle 50">
            <a:extLst>
              <a:ext uri="{FF2B5EF4-FFF2-40B4-BE49-F238E27FC236}">
                <a16:creationId xmlns:a16="http://schemas.microsoft.com/office/drawing/2014/main" id="{1D9B6445-7F02-AD29-9C1C-BE7ED24A094D}"/>
              </a:ext>
            </a:extLst>
          </p:cNvPr>
          <p:cNvSpPr/>
          <p:nvPr/>
        </p:nvSpPr>
        <p:spPr>
          <a:xfrm>
            <a:off x="11173088"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52" name="Rectangle 51">
            <a:extLst>
              <a:ext uri="{FF2B5EF4-FFF2-40B4-BE49-F238E27FC236}">
                <a16:creationId xmlns:a16="http://schemas.microsoft.com/office/drawing/2014/main" id="{1BE86892-4D0A-D5EF-2C31-083B961D6FA7}"/>
              </a:ext>
            </a:extLst>
          </p:cNvPr>
          <p:cNvSpPr/>
          <p:nvPr/>
        </p:nvSpPr>
        <p:spPr>
          <a:xfrm>
            <a:off x="11102200"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Rectangle 53">
            <a:extLst>
              <a:ext uri="{FF2B5EF4-FFF2-40B4-BE49-F238E27FC236}">
                <a16:creationId xmlns:a16="http://schemas.microsoft.com/office/drawing/2014/main" id="{A1F71667-D7CD-73A1-7C5D-B210E14862AD}"/>
              </a:ext>
            </a:extLst>
          </p:cNvPr>
          <p:cNvSpPr/>
          <p:nvPr/>
        </p:nvSpPr>
        <p:spPr>
          <a:xfrm>
            <a:off x="6949431" y="3104436"/>
            <a:ext cx="4799656" cy="4984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spc="-20">
                <a:solidFill>
                  <a:srgbClr val="212529"/>
                </a:solidFill>
                <a:effectLst/>
              </a:rPr>
              <a:t>Ja ir jāpaliek automašīnā, automašīnas logus turiet aizvērtus un izslēdziet ventilāciju, gaisa kondicionieri un sildītāju.</a:t>
            </a:r>
          </a:p>
        </p:txBody>
      </p:sp>
      <p:sp>
        <p:nvSpPr>
          <p:cNvPr id="55" name="Rectangle 54">
            <a:extLst>
              <a:ext uri="{FF2B5EF4-FFF2-40B4-BE49-F238E27FC236}">
                <a16:creationId xmlns:a16="http://schemas.microsoft.com/office/drawing/2014/main" id="{66A2792C-2B71-6239-D665-C7703B3883CF}"/>
              </a:ext>
            </a:extLst>
          </p:cNvPr>
          <p:cNvSpPr/>
          <p:nvPr/>
        </p:nvSpPr>
        <p:spPr>
          <a:xfrm>
            <a:off x="6284691" y="3104232"/>
            <a:ext cx="576263" cy="49888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FED96557-39A9-DE02-B310-DB56EBC3F516}"/>
              </a:ext>
            </a:extLst>
          </p:cNvPr>
          <p:cNvSpPr/>
          <p:nvPr/>
        </p:nvSpPr>
        <p:spPr>
          <a:xfrm rot="13500000">
            <a:off x="6401085" y="32172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84" name="Google Shape;1770;p93">
            <a:extLst>
              <a:ext uri="{FF2B5EF4-FFF2-40B4-BE49-F238E27FC236}">
                <a16:creationId xmlns:a16="http://schemas.microsoft.com/office/drawing/2014/main" id="{FFF4B9E7-0D73-4D04-B6EE-7C042B10DAEB}"/>
              </a:ext>
            </a:extLst>
          </p:cNvPr>
          <p:cNvGrpSpPr/>
          <p:nvPr/>
        </p:nvGrpSpPr>
        <p:grpSpPr>
          <a:xfrm>
            <a:off x="5663966" y="1963275"/>
            <a:ext cx="287998" cy="288000"/>
            <a:chOff x="7461366" y="2560815"/>
            <a:chExt cx="457200" cy="457200"/>
          </a:xfrm>
          <a:solidFill>
            <a:schemeClr val="bg1"/>
          </a:solidFill>
        </p:grpSpPr>
        <p:grpSp>
          <p:nvGrpSpPr>
            <p:cNvPr id="85" name="Google Shape;1771;p93">
              <a:extLst>
                <a:ext uri="{FF2B5EF4-FFF2-40B4-BE49-F238E27FC236}">
                  <a16:creationId xmlns:a16="http://schemas.microsoft.com/office/drawing/2014/main" id="{19D87289-DE85-54A6-120C-32102C7358D5}"/>
                </a:ext>
              </a:extLst>
            </p:cNvPr>
            <p:cNvGrpSpPr/>
            <p:nvPr/>
          </p:nvGrpSpPr>
          <p:grpSpPr>
            <a:xfrm>
              <a:off x="7461366" y="2560815"/>
              <a:ext cx="457200" cy="457200"/>
              <a:chOff x="7461366" y="2560815"/>
              <a:chExt cx="457200" cy="457200"/>
            </a:xfrm>
            <a:grpFill/>
          </p:grpSpPr>
          <p:sp>
            <p:nvSpPr>
              <p:cNvPr id="87" name="Google Shape;1772;p93">
                <a:extLst>
                  <a:ext uri="{FF2B5EF4-FFF2-40B4-BE49-F238E27FC236}">
                    <a16:creationId xmlns:a16="http://schemas.microsoft.com/office/drawing/2014/main" id="{70465341-44BC-C747-FB71-A5979664F034}"/>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8" name="Google Shape;1773;p93">
                <a:extLst>
                  <a:ext uri="{FF2B5EF4-FFF2-40B4-BE49-F238E27FC236}">
                    <a16:creationId xmlns:a16="http://schemas.microsoft.com/office/drawing/2014/main" id="{C098B08C-A5EB-E1DE-A35D-83EC23694E34}"/>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9" name="Google Shape;1774;p93">
                <a:extLst>
                  <a:ext uri="{FF2B5EF4-FFF2-40B4-BE49-F238E27FC236}">
                    <a16:creationId xmlns:a16="http://schemas.microsoft.com/office/drawing/2014/main" id="{5E892334-C55A-8B5F-6974-E2BFB0CE3441}"/>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0" name="Google Shape;1775;p93">
                <a:extLst>
                  <a:ext uri="{FF2B5EF4-FFF2-40B4-BE49-F238E27FC236}">
                    <a16:creationId xmlns:a16="http://schemas.microsoft.com/office/drawing/2014/main" id="{16E5E6F9-0E17-1E1E-09DA-5FDF1018EE61}"/>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86" name="Google Shape;1776;p93">
              <a:extLst>
                <a:ext uri="{FF2B5EF4-FFF2-40B4-BE49-F238E27FC236}">
                  <a16:creationId xmlns:a16="http://schemas.microsoft.com/office/drawing/2014/main" id="{F831F379-234F-C2C6-4523-89BC30299736}"/>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91" name="Google Shape;2220;p101">
            <a:extLst>
              <a:ext uri="{FF2B5EF4-FFF2-40B4-BE49-F238E27FC236}">
                <a16:creationId xmlns:a16="http://schemas.microsoft.com/office/drawing/2014/main" id="{B08A34BB-8B10-E973-7947-0F44D4A03BE7}"/>
              </a:ext>
            </a:extLst>
          </p:cNvPr>
          <p:cNvSpPr/>
          <p:nvPr/>
        </p:nvSpPr>
        <p:spPr>
          <a:xfrm>
            <a:off x="11317088" y="1963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7" name="Group 6">
            <a:extLst>
              <a:ext uri="{FF2B5EF4-FFF2-40B4-BE49-F238E27FC236}">
                <a16:creationId xmlns:a16="http://schemas.microsoft.com/office/drawing/2014/main" id="{FF93E6CC-3127-EE4B-EF45-0C9CDE7DA6FE}"/>
              </a:ext>
            </a:extLst>
          </p:cNvPr>
          <p:cNvGrpSpPr/>
          <p:nvPr/>
        </p:nvGrpSpPr>
        <p:grpSpPr>
          <a:xfrm>
            <a:off x="8844369" y="159786"/>
            <a:ext cx="2904719" cy="220267"/>
            <a:chOff x="8844369" y="159786"/>
            <a:chExt cx="2904719" cy="220267"/>
          </a:xfrm>
        </p:grpSpPr>
        <p:sp>
          <p:nvSpPr>
            <p:cNvPr id="8" name="Rectangle 7">
              <a:extLst>
                <a:ext uri="{FF2B5EF4-FFF2-40B4-BE49-F238E27FC236}">
                  <a16:creationId xmlns:a16="http://schemas.microsoft.com/office/drawing/2014/main" id="{5AFA0A34-FB5F-FE3F-1CF0-B3A21CB6FDE1}"/>
                </a:ext>
              </a:extLst>
            </p:cNvPr>
            <p:cNvSpPr/>
            <p:nvPr/>
          </p:nvSpPr>
          <p:spPr>
            <a:xfrm>
              <a:off x="9327597" y="159786"/>
              <a:ext cx="2179876"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ntropogēn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3F9C5852-B94C-5E8C-5222-BC61DC3F052B}"/>
                </a:ext>
              </a:extLst>
            </p:cNvPr>
            <p:cNvSpPr/>
            <p:nvPr/>
          </p:nvSpPr>
          <p:spPr>
            <a:xfrm>
              <a:off x="9085983"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DE57A9DA-2BA3-3EB4-E000-F3B541812099}"/>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9BC11708-09FB-746F-793F-2134D1994854}"/>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1300561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E384B44-88CC-8F76-E9AF-DBDBDD24EECE}"/>
              </a:ext>
            </a:extLst>
          </p:cNvPr>
          <p:cNvSpPr/>
          <p:nvPr/>
        </p:nvSpPr>
        <p:spPr>
          <a:xfrm>
            <a:off x="442913" y="1819275"/>
            <a:ext cx="482681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Iedzīvotājiem tiek rekomendēts uzturēties telpās</a:t>
            </a:r>
          </a:p>
        </p:txBody>
      </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8" name="Rectangle 67">
            <a:extLst>
              <a:ext uri="{FF2B5EF4-FFF2-40B4-BE49-F238E27FC236}">
                <a16:creationId xmlns:a16="http://schemas.microsoft.com/office/drawing/2014/main" id="{DC58C25F-8110-0C29-4A50-5DADA78B621C}"/>
              </a:ext>
            </a:extLst>
          </p:cNvPr>
          <p:cNvSpPr/>
          <p:nvPr/>
        </p:nvSpPr>
        <p:spPr>
          <a:xfrm>
            <a:off x="6275388" y="1819275"/>
            <a:ext cx="48268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es-ES" sz="1600" b="1" err="1"/>
              <a:t>Tiek</a:t>
            </a:r>
            <a:r>
              <a:rPr lang="es-ES" sz="1600" b="1"/>
              <a:t> </a:t>
            </a:r>
            <a:r>
              <a:rPr lang="es-ES" sz="1600" b="1" err="1"/>
              <a:t>rekomendēti</a:t>
            </a:r>
            <a:r>
              <a:rPr lang="es-ES" sz="1600" b="1"/>
              <a:t> </a:t>
            </a:r>
            <a:r>
              <a:rPr lang="es-ES" sz="1600" b="1" err="1"/>
              <a:t>pārtikas</a:t>
            </a:r>
            <a:r>
              <a:rPr lang="es-ES" sz="1600" b="1"/>
              <a:t> </a:t>
            </a:r>
            <a:r>
              <a:rPr lang="es-ES" sz="1600" b="1" err="1"/>
              <a:t>lietošanas</a:t>
            </a:r>
            <a:r>
              <a:rPr lang="es-ES" sz="1600" b="1"/>
              <a:t> un </a:t>
            </a:r>
            <a:r>
              <a:rPr lang="es-ES" sz="1600" b="1" err="1"/>
              <a:t>lauksaimniecības</a:t>
            </a:r>
            <a:r>
              <a:rPr lang="es-ES" sz="1600" b="1"/>
              <a:t> </a:t>
            </a:r>
            <a:r>
              <a:rPr lang="es-ES" sz="1600" b="1" err="1"/>
              <a:t>ierobežojumi</a:t>
            </a:r>
            <a:endParaRPr lang="es-ES" sz="1600" b="1"/>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660"/>
            <a:ext cx="4808960"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Aizveriet logus un durvis, izslēdziet ventilācijas sistēmu, noslēdziet spraugas.</a:t>
            </a:r>
          </a:p>
        </p:txBody>
      </p:sp>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221142"/>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Radiācijas</a:t>
            </a:r>
            <a:r>
              <a:rPr lang="en-GB"/>
              <a:t> </a:t>
            </a:r>
            <a:r>
              <a:rPr lang="en-GB" err="1"/>
              <a:t>avārijas</a:t>
            </a:r>
            <a:br>
              <a:rPr lang="lv-LV"/>
            </a:br>
            <a:r>
              <a:rPr lang="lv-LV">
                <a:solidFill>
                  <a:srgbClr val="A8192D"/>
                </a:solidFill>
              </a:rPr>
              <a:t>Kā rīkoties? (1/4)</a:t>
            </a:r>
            <a:endParaRPr lang="en-GB">
              <a:solidFill>
                <a:srgbClr val="A8192D"/>
              </a:solidFill>
            </a:endParaRPr>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4141017"/>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7653" y="5063344"/>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0397F1B3-1DAC-781B-5BE5-08FA024DC19C}"/>
              </a:ext>
            </a:extLst>
          </p:cNvPr>
          <p:cNvSpPr/>
          <p:nvPr/>
        </p:nvSpPr>
        <p:spPr>
          <a:xfrm>
            <a:off x="1107653" y="3374692"/>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Sekojiet</a:t>
            </a:r>
            <a:r>
              <a:rPr lang="lv-LV" sz="1400" b="0" i="0">
                <a:solidFill>
                  <a:schemeClr val="tx1"/>
                </a:solidFill>
                <a:effectLst/>
              </a:rPr>
              <a:t> līdzi atbildīgo iestāžu informācijai par iespējamo apdraudējumu un aizsardzības pasākumiem.</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4297019"/>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Ievērojiet personīgo higiēnu – izvairīties no roku saskares ar seju, ieejot telpās mazgāt roka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3" y="5219344"/>
            <a:ext cx="4808538" cy="95285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0" i="0">
                <a:solidFill>
                  <a:schemeClr val="tx1"/>
                </a:solidFill>
                <a:effectLst/>
              </a:rPr>
              <a:t>Ieejot iekštelpās, ieteicams nodrošināt apavu un apģērba nomaiņu. Novilkto apģērbu ievietojiet polietilēna maisā un novietojiet vietā, kur neatrodas cilvēki. Pēc tam apģērbu var mazgāt un lietot atkārtoti.</a:t>
            </a: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6940550" y="3683670"/>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88D7CFA4-9630-9E6E-9558-B995D1763B49}"/>
              </a:ext>
            </a:extLst>
          </p:cNvPr>
          <p:cNvCxnSpPr>
            <a:cxnSpLocks/>
          </p:cNvCxnSpPr>
          <p:nvPr/>
        </p:nvCxnSpPr>
        <p:spPr>
          <a:xfrm>
            <a:off x="6940550" y="502413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4" name="Rectangle 63">
            <a:extLst>
              <a:ext uri="{FF2B5EF4-FFF2-40B4-BE49-F238E27FC236}">
                <a16:creationId xmlns:a16="http://schemas.microsoft.com/office/drawing/2014/main" id="{C8839363-023E-6108-2610-F9869562BA65}"/>
              </a:ext>
            </a:extLst>
          </p:cNvPr>
          <p:cNvSpPr/>
          <p:nvPr/>
        </p:nvSpPr>
        <p:spPr>
          <a:xfrm>
            <a:off x="6940550" y="2538413"/>
            <a:ext cx="4808538" cy="9525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N</a:t>
            </a:r>
            <a:r>
              <a:rPr lang="lv-LV" sz="1400" b="0" i="0">
                <a:solidFill>
                  <a:srgbClr val="212529"/>
                </a:solidFill>
                <a:effectLst/>
              </a:rPr>
              <a:t>elietojiet produktus no atklāta lauka un meža un ūdeni no atklātām ūdenstilpnēm (virszemes ūdenstilpnēm) un nenosegtām akām.</a:t>
            </a:r>
          </a:p>
        </p:txBody>
      </p:sp>
      <p:sp>
        <p:nvSpPr>
          <p:cNvPr id="65" name="Rectangle 64">
            <a:extLst>
              <a:ext uri="{FF2B5EF4-FFF2-40B4-BE49-F238E27FC236}">
                <a16:creationId xmlns:a16="http://schemas.microsoft.com/office/drawing/2014/main" id="{6C9963BA-CB30-1A9A-495C-AC7D92B42F6A}"/>
              </a:ext>
            </a:extLst>
          </p:cNvPr>
          <p:cNvSpPr/>
          <p:nvPr/>
        </p:nvSpPr>
        <p:spPr>
          <a:xfrm>
            <a:off x="6940550" y="3878879"/>
            <a:ext cx="4808538" cy="9525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rgbClr val="212529"/>
                </a:solidFill>
                <a:effectLst/>
              </a:rPr>
              <a:t>Izmantojiet pārtiku un ūdeni iepakojumos vai arī pārtiku, kas uzglabāta telpās.</a:t>
            </a:r>
          </a:p>
        </p:txBody>
      </p:sp>
      <p:sp>
        <p:nvSpPr>
          <p:cNvPr id="66" name="Rectangle 65">
            <a:extLst>
              <a:ext uri="{FF2B5EF4-FFF2-40B4-BE49-F238E27FC236}">
                <a16:creationId xmlns:a16="http://schemas.microsoft.com/office/drawing/2014/main" id="{F013B6EF-6664-55FA-8A95-9B25B931D676}"/>
              </a:ext>
            </a:extLst>
          </p:cNvPr>
          <p:cNvSpPr/>
          <p:nvPr/>
        </p:nvSpPr>
        <p:spPr>
          <a:xfrm>
            <a:off x="6940550" y="5219345"/>
            <a:ext cx="4808538" cy="95285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J</a:t>
            </a:r>
            <a:r>
              <a:rPr lang="lv-LV" sz="1400" b="0" i="0">
                <a:solidFill>
                  <a:srgbClr val="212529"/>
                </a:solidFill>
                <a:effectLst/>
              </a:rPr>
              <a:t>a iespējams, barošanai izmantojiet dzīvnieku barību, kas ir uzglabāta slēgtās vai daļēji slēgtās telpās vai iepakota. Dzīvnieku dzirdināšanai neizmantojiet ūdeni no atklātām ūdenstilpnēm un nenosegtām akām.</a:t>
            </a:r>
          </a:p>
        </p:txBody>
      </p: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2913" y="3375467"/>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54507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429779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46740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2913" y="5219344"/>
            <a:ext cx="576263" cy="95285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555938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1" name="Rectangle 90">
            <a:extLst>
              <a:ext uri="{FF2B5EF4-FFF2-40B4-BE49-F238E27FC236}">
                <a16:creationId xmlns:a16="http://schemas.microsoft.com/office/drawing/2014/main" id="{923ED525-0203-6BC5-F3E8-8ABB7C0A1DD9}"/>
              </a:ext>
            </a:extLst>
          </p:cNvPr>
          <p:cNvSpPr/>
          <p:nvPr/>
        </p:nvSpPr>
        <p:spPr>
          <a:xfrm>
            <a:off x="6275388" y="2538413"/>
            <a:ext cx="576263" cy="9525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2" name="L-Shape 91">
            <a:extLst>
              <a:ext uri="{FF2B5EF4-FFF2-40B4-BE49-F238E27FC236}">
                <a16:creationId xmlns:a16="http://schemas.microsoft.com/office/drawing/2014/main" id="{97672140-6C3A-9556-1AB0-06A807124770}"/>
              </a:ext>
            </a:extLst>
          </p:cNvPr>
          <p:cNvSpPr/>
          <p:nvPr/>
        </p:nvSpPr>
        <p:spPr>
          <a:xfrm rot="13500000">
            <a:off x="6391782" y="287827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3" name="Rectangle 92">
            <a:extLst>
              <a:ext uri="{FF2B5EF4-FFF2-40B4-BE49-F238E27FC236}">
                <a16:creationId xmlns:a16="http://schemas.microsoft.com/office/drawing/2014/main" id="{D0E0A4D4-73EA-CBEB-4379-F0B1FF036634}"/>
              </a:ext>
            </a:extLst>
          </p:cNvPr>
          <p:cNvSpPr/>
          <p:nvPr/>
        </p:nvSpPr>
        <p:spPr>
          <a:xfrm>
            <a:off x="6275388" y="3878879"/>
            <a:ext cx="576263" cy="9525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4" name="L-Shape 93">
            <a:extLst>
              <a:ext uri="{FF2B5EF4-FFF2-40B4-BE49-F238E27FC236}">
                <a16:creationId xmlns:a16="http://schemas.microsoft.com/office/drawing/2014/main" id="{1B45DCE4-892C-EC8B-4496-9FC8EDE7A80C}"/>
              </a:ext>
            </a:extLst>
          </p:cNvPr>
          <p:cNvSpPr/>
          <p:nvPr/>
        </p:nvSpPr>
        <p:spPr>
          <a:xfrm rot="13500000">
            <a:off x="6391782" y="4218741"/>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5" name="Rectangle 94">
            <a:extLst>
              <a:ext uri="{FF2B5EF4-FFF2-40B4-BE49-F238E27FC236}">
                <a16:creationId xmlns:a16="http://schemas.microsoft.com/office/drawing/2014/main" id="{443FAA3C-0F7C-AD6B-CBF1-68825DEE28EF}"/>
              </a:ext>
            </a:extLst>
          </p:cNvPr>
          <p:cNvSpPr/>
          <p:nvPr/>
        </p:nvSpPr>
        <p:spPr>
          <a:xfrm>
            <a:off x="6275388" y="5219345"/>
            <a:ext cx="576263" cy="95285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6391782" y="555938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4</a:t>
            </a:fld>
            <a:endParaRPr lang="en-GB"/>
          </a:p>
        </p:txBody>
      </p:sp>
      <p:sp>
        <p:nvSpPr>
          <p:cNvPr id="9" name="TextBox 8">
            <a:extLst>
              <a:ext uri="{FF2B5EF4-FFF2-40B4-BE49-F238E27FC236}">
                <a16:creationId xmlns:a16="http://schemas.microsoft.com/office/drawing/2014/main" id="{A60B2152-534E-51B4-687F-152F4DFE85AF}"/>
              </a:ext>
            </a:extLst>
          </p:cNvPr>
          <p:cNvSpPr txBox="1"/>
          <p:nvPr/>
        </p:nvSpPr>
        <p:spPr>
          <a:xfrm>
            <a:off x="406336" y="1468020"/>
            <a:ext cx="12042378" cy="338554"/>
          </a:xfrm>
          <a:prstGeom prst="rect">
            <a:avLst/>
          </a:prstGeom>
          <a:noFill/>
        </p:spPr>
        <p:txBody>
          <a:bodyPr wrap="square">
            <a:spAutoFit/>
          </a:bodyPr>
          <a:lstStyle/>
          <a:p>
            <a:r>
              <a:rPr lang="lv-LV" sz="1600" b="1">
                <a:solidFill>
                  <a:srgbClr val="A8192D"/>
                </a:solidFill>
              </a:rPr>
              <a:t>Kā rīkoties līdz situācijas izvērtējumam, ja notikusi radioaktīvo vielu noplūde ārpus Latvijas?</a:t>
            </a:r>
          </a:p>
        </p:txBody>
      </p:sp>
      <p:sp>
        <p:nvSpPr>
          <p:cNvPr id="11" name="Freeform 21">
            <a:extLst>
              <a:ext uri="{FF2B5EF4-FFF2-40B4-BE49-F238E27FC236}">
                <a16:creationId xmlns:a16="http://schemas.microsoft.com/office/drawing/2014/main" id="{16ADE182-810C-6913-ED1F-D813F9BEAF24}"/>
              </a:ext>
            </a:extLst>
          </p:cNvPr>
          <p:cNvSpPr>
            <a:spLocks noChangeAspect="1" noEditPoints="1"/>
          </p:cNvSpPr>
          <p:nvPr/>
        </p:nvSpPr>
        <p:spPr bwMode="auto">
          <a:xfrm>
            <a:off x="5449009" y="1928478"/>
            <a:ext cx="358980" cy="360000"/>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3 w 704"/>
              <a:gd name="T11" fmla="*/ 676 h 706"/>
              <a:gd name="T12" fmla="*/ 31 w 704"/>
              <a:gd name="T13" fmla="*/ 676 h 706"/>
              <a:gd name="T14" fmla="*/ 31 w 704"/>
              <a:gd name="T15" fmla="*/ 31 h 706"/>
              <a:gd name="T16" fmla="*/ 673 w 704"/>
              <a:gd name="T17" fmla="*/ 31 h 706"/>
              <a:gd name="T18" fmla="*/ 673 w 704"/>
              <a:gd name="T19" fmla="*/ 676 h 706"/>
              <a:gd name="T20" fmla="*/ 136 w 704"/>
              <a:gd name="T21" fmla="*/ 619 h 706"/>
              <a:gd name="T22" fmla="*/ 280 w 704"/>
              <a:gd name="T23" fmla="*/ 619 h 706"/>
              <a:gd name="T24" fmla="*/ 424 w 704"/>
              <a:gd name="T25" fmla="*/ 619 h 706"/>
              <a:gd name="T26" fmla="*/ 568 w 704"/>
              <a:gd name="T27" fmla="*/ 619 h 706"/>
              <a:gd name="T28" fmla="*/ 568 w 704"/>
              <a:gd name="T29" fmla="*/ 377 h 706"/>
              <a:gd name="T30" fmla="*/ 645 w 704"/>
              <a:gd name="T31" fmla="*/ 377 h 706"/>
              <a:gd name="T32" fmla="*/ 354 w 704"/>
              <a:gd name="T33" fmla="*/ 82 h 706"/>
              <a:gd name="T34" fmla="*/ 57 w 704"/>
              <a:gd name="T35" fmla="*/ 377 h 706"/>
              <a:gd name="T36" fmla="*/ 136 w 704"/>
              <a:gd name="T37" fmla="*/ 377 h 706"/>
              <a:gd name="T38" fmla="*/ 136 w 704"/>
              <a:gd name="T39" fmla="*/ 619 h 706"/>
              <a:gd name="T40" fmla="*/ 310 w 704"/>
              <a:gd name="T41" fmla="*/ 588 h 706"/>
              <a:gd name="T42" fmla="*/ 310 w 704"/>
              <a:gd name="T43" fmla="*/ 469 h 706"/>
              <a:gd name="T44" fmla="*/ 394 w 704"/>
              <a:gd name="T45" fmla="*/ 469 h 706"/>
              <a:gd name="T46" fmla="*/ 394 w 704"/>
              <a:gd name="T47" fmla="*/ 588 h 706"/>
              <a:gd name="T48" fmla="*/ 310 w 704"/>
              <a:gd name="T49" fmla="*/ 588 h 706"/>
              <a:gd name="T50" fmla="*/ 131 w 704"/>
              <a:gd name="T51" fmla="*/ 348 h 706"/>
              <a:gd name="T52" fmla="*/ 354 w 704"/>
              <a:gd name="T53" fmla="*/ 125 h 706"/>
              <a:gd name="T54" fmla="*/ 574 w 704"/>
              <a:gd name="T55" fmla="*/ 348 h 706"/>
              <a:gd name="T56" fmla="*/ 538 w 704"/>
              <a:gd name="T57" fmla="*/ 348 h 706"/>
              <a:gd name="T58" fmla="*/ 538 w 704"/>
              <a:gd name="T59" fmla="*/ 588 h 706"/>
              <a:gd name="T60" fmla="*/ 424 w 704"/>
              <a:gd name="T61" fmla="*/ 588 h 706"/>
              <a:gd name="T62" fmla="*/ 424 w 704"/>
              <a:gd name="T63" fmla="*/ 439 h 706"/>
              <a:gd name="T64" fmla="*/ 280 w 704"/>
              <a:gd name="T65" fmla="*/ 439 h 706"/>
              <a:gd name="T66" fmla="*/ 280 w 704"/>
              <a:gd name="T67" fmla="*/ 588 h 706"/>
              <a:gd name="T68" fmla="*/ 166 w 704"/>
              <a:gd name="T69" fmla="*/ 588 h 706"/>
              <a:gd name="T70" fmla="*/ 166 w 704"/>
              <a:gd name="T71" fmla="*/ 348 h 706"/>
              <a:gd name="T72" fmla="*/ 131 w 704"/>
              <a:gd name="T73" fmla="*/ 34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4" h="706">
                <a:moveTo>
                  <a:pt x="0" y="0"/>
                </a:moveTo>
                <a:lnTo>
                  <a:pt x="0" y="706"/>
                </a:lnTo>
                <a:lnTo>
                  <a:pt x="704" y="706"/>
                </a:lnTo>
                <a:lnTo>
                  <a:pt x="704" y="0"/>
                </a:lnTo>
                <a:lnTo>
                  <a:pt x="0" y="0"/>
                </a:lnTo>
                <a:close/>
                <a:moveTo>
                  <a:pt x="673" y="676"/>
                </a:moveTo>
                <a:lnTo>
                  <a:pt x="31" y="676"/>
                </a:lnTo>
                <a:lnTo>
                  <a:pt x="31" y="31"/>
                </a:lnTo>
                <a:lnTo>
                  <a:pt x="673" y="31"/>
                </a:lnTo>
                <a:lnTo>
                  <a:pt x="673" y="676"/>
                </a:lnTo>
                <a:close/>
                <a:moveTo>
                  <a:pt x="136" y="619"/>
                </a:moveTo>
                <a:lnTo>
                  <a:pt x="280" y="619"/>
                </a:lnTo>
                <a:lnTo>
                  <a:pt x="424" y="619"/>
                </a:lnTo>
                <a:lnTo>
                  <a:pt x="568" y="619"/>
                </a:lnTo>
                <a:lnTo>
                  <a:pt x="568" y="377"/>
                </a:lnTo>
                <a:lnTo>
                  <a:pt x="645" y="377"/>
                </a:lnTo>
                <a:lnTo>
                  <a:pt x="354" y="82"/>
                </a:lnTo>
                <a:lnTo>
                  <a:pt x="57" y="377"/>
                </a:lnTo>
                <a:lnTo>
                  <a:pt x="136" y="377"/>
                </a:lnTo>
                <a:lnTo>
                  <a:pt x="136" y="619"/>
                </a:lnTo>
                <a:close/>
                <a:moveTo>
                  <a:pt x="310" y="588"/>
                </a:moveTo>
                <a:lnTo>
                  <a:pt x="310" y="469"/>
                </a:lnTo>
                <a:lnTo>
                  <a:pt x="394" y="469"/>
                </a:lnTo>
                <a:lnTo>
                  <a:pt x="394" y="588"/>
                </a:lnTo>
                <a:lnTo>
                  <a:pt x="310" y="588"/>
                </a:lnTo>
                <a:close/>
                <a:moveTo>
                  <a:pt x="131" y="348"/>
                </a:moveTo>
                <a:lnTo>
                  <a:pt x="354" y="125"/>
                </a:lnTo>
                <a:lnTo>
                  <a:pt x="574" y="348"/>
                </a:lnTo>
                <a:lnTo>
                  <a:pt x="538" y="348"/>
                </a:lnTo>
                <a:lnTo>
                  <a:pt x="538" y="588"/>
                </a:lnTo>
                <a:lnTo>
                  <a:pt x="424" y="588"/>
                </a:lnTo>
                <a:lnTo>
                  <a:pt x="424" y="439"/>
                </a:lnTo>
                <a:lnTo>
                  <a:pt x="280" y="439"/>
                </a:lnTo>
                <a:lnTo>
                  <a:pt x="280" y="588"/>
                </a:lnTo>
                <a:lnTo>
                  <a:pt x="166" y="588"/>
                </a:lnTo>
                <a:lnTo>
                  <a:pt x="166" y="348"/>
                </a:lnTo>
                <a:lnTo>
                  <a:pt x="131" y="34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b="1">
              <a:solidFill>
                <a:schemeClr val="accent1"/>
              </a:solidFill>
            </a:endParaRPr>
          </a:p>
        </p:txBody>
      </p:sp>
      <p:sp>
        <p:nvSpPr>
          <p:cNvPr id="23" name="Freeform 132">
            <a:extLst>
              <a:ext uri="{FF2B5EF4-FFF2-40B4-BE49-F238E27FC236}">
                <a16:creationId xmlns:a16="http://schemas.microsoft.com/office/drawing/2014/main" id="{1BC76650-7F9E-8ADC-C19F-C01209498B65}"/>
              </a:ext>
            </a:extLst>
          </p:cNvPr>
          <p:cNvSpPr>
            <a:spLocks noChangeAspect="1" noEditPoints="1"/>
          </p:cNvSpPr>
          <p:nvPr/>
        </p:nvSpPr>
        <p:spPr bwMode="auto">
          <a:xfrm>
            <a:off x="11282154" y="1909900"/>
            <a:ext cx="358980" cy="360000"/>
          </a:xfrm>
          <a:custGeom>
            <a:avLst/>
            <a:gdLst>
              <a:gd name="T0" fmla="*/ 0 w 576"/>
              <a:gd name="T1" fmla="*/ 576 h 576"/>
              <a:gd name="T2" fmla="*/ 576 w 576"/>
              <a:gd name="T3" fmla="*/ 0 h 576"/>
              <a:gd name="T4" fmla="*/ 551 w 576"/>
              <a:gd name="T5" fmla="*/ 551 h 576"/>
              <a:gd name="T6" fmla="*/ 25 w 576"/>
              <a:gd name="T7" fmla="*/ 25 h 576"/>
              <a:gd name="T8" fmla="*/ 551 w 576"/>
              <a:gd name="T9" fmla="*/ 551 h 576"/>
              <a:gd name="T10" fmla="*/ 428 w 576"/>
              <a:gd name="T11" fmla="*/ 120 h 576"/>
              <a:gd name="T12" fmla="*/ 395 w 576"/>
              <a:gd name="T13" fmla="*/ 278 h 576"/>
              <a:gd name="T14" fmla="*/ 461 w 576"/>
              <a:gd name="T15" fmla="*/ 501 h 576"/>
              <a:gd name="T16" fmla="*/ 484 w 576"/>
              <a:gd name="T17" fmla="*/ 213 h 576"/>
              <a:gd name="T18" fmla="*/ 460 w 576"/>
              <a:gd name="T19" fmla="*/ 213 h 576"/>
              <a:gd name="T20" fmla="*/ 396 w 576"/>
              <a:gd name="T21" fmla="*/ 213 h 576"/>
              <a:gd name="T22" fmla="*/ 436 w 576"/>
              <a:gd name="T23" fmla="*/ 477 h 576"/>
              <a:gd name="T24" fmla="*/ 419 w 576"/>
              <a:gd name="T25" fmla="*/ 290 h 576"/>
              <a:gd name="T26" fmla="*/ 436 w 576"/>
              <a:gd name="T27" fmla="*/ 290 h 576"/>
              <a:gd name="T28" fmla="*/ 321 w 576"/>
              <a:gd name="T29" fmla="*/ 68 h 576"/>
              <a:gd name="T30" fmla="*/ 249 w 576"/>
              <a:gd name="T31" fmla="*/ 292 h 576"/>
              <a:gd name="T32" fmla="*/ 267 w 576"/>
              <a:gd name="T33" fmla="*/ 304 h 576"/>
              <a:gd name="T34" fmla="*/ 333 w 576"/>
              <a:gd name="T35" fmla="*/ 501 h 576"/>
              <a:gd name="T36" fmla="*/ 333 w 576"/>
              <a:gd name="T37" fmla="*/ 209 h 576"/>
              <a:gd name="T38" fmla="*/ 321 w 576"/>
              <a:gd name="T39" fmla="*/ 68 h 576"/>
              <a:gd name="T40" fmla="*/ 308 w 576"/>
              <a:gd name="T41" fmla="*/ 94 h 576"/>
              <a:gd name="T42" fmla="*/ 274 w 576"/>
              <a:gd name="T43" fmla="*/ 279 h 576"/>
              <a:gd name="T44" fmla="*/ 308 w 576"/>
              <a:gd name="T45" fmla="*/ 477 h 576"/>
              <a:gd name="T46" fmla="*/ 291 w 576"/>
              <a:gd name="T47" fmla="*/ 304 h 576"/>
              <a:gd name="T48" fmla="*/ 308 w 576"/>
              <a:gd name="T49" fmla="*/ 477 h 576"/>
              <a:gd name="T50" fmla="*/ 93 w 576"/>
              <a:gd name="T51" fmla="*/ 221 h 576"/>
              <a:gd name="T52" fmla="*/ 121 w 576"/>
              <a:gd name="T53" fmla="*/ 501 h 576"/>
              <a:gd name="T54" fmla="*/ 187 w 576"/>
              <a:gd name="T55" fmla="*/ 295 h 576"/>
              <a:gd name="T56" fmla="*/ 215 w 576"/>
              <a:gd name="T57" fmla="*/ 120 h 576"/>
              <a:gd name="T58" fmla="*/ 162 w 576"/>
              <a:gd name="T59" fmla="*/ 477 h 576"/>
              <a:gd name="T60" fmla="*/ 145 w 576"/>
              <a:gd name="T61" fmla="*/ 305 h 576"/>
              <a:gd name="T62" fmla="*/ 162 w 576"/>
              <a:gd name="T63" fmla="*/ 305 h 576"/>
              <a:gd name="T64" fmla="*/ 191 w 576"/>
              <a:gd name="T65" fmla="*/ 221 h 576"/>
              <a:gd name="T66" fmla="*/ 117 w 576"/>
              <a:gd name="T67" fmla="*/ 221 h 576"/>
              <a:gd name="T68" fmla="*/ 131 w 576"/>
              <a:gd name="T69" fmla="*/ 144 h 576"/>
              <a:gd name="T70" fmla="*/ 147 w 576"/>
              <a:gd name="T71" fmla="*/ 209 h 576"/>
              <a:gd name="T72" fmla="*/ 160 w 576"/>
              <a:gd name="T73" fmla="*/ 144 h 576"/>
              <a:gd name="T74" fmla="*/ 176 w 576"/>
              <a:gd name="T75" fmla="*/ 209 h 576"/>
              <a:gd name="T76" fmla="*/ 191 w 576"/>
              <a:gd name="T7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484" y="213"/>
                </a:moveTo>
                <a:cubicBezTo>
                  <a:pt x="484" y="160"/>
                  <a:pt x="460" y="120"/>
                  <a:pt x="428" y="120"/>
                </a:cubicBezTo>
                <a:cubicBezTo>
                  <a:pt x="396" y="120"/>
                  <a:pt x="371" y="160"/>
                  <a:pt x="371" y="213"/>
                </a:cubicBezTo>
                <a:cubicBezTo>
                  <a:pt x="371" y="237"/>
                  <a:pt x="378" y="263"/>
                  <a:pt x="395" y="278"/>
                </a:cubicBezTo>
                <a:cubicBezTo>
                  <a:pt x="395" y="501"/>
                  <a:pt x="395" y="501"/>
                  <a:pt x="395" y="501"/>
                </a:cubicBezTo>
                <a:cubicBezTo>
                  <a:pt x="461" y="501"/>
                  <a:pt x="461" y="501"/>
                  <a:pt x="461" y="501"/>
                </a:cubicBezTo>
                <a:cubicBezTo>
                  <a:pt x="461" y="278"/>
                  <a:pt x="461" y="278"/>
                  <a:pt x="461" y="278"/>
                </a:cubicBezTo>
                <a:cubicBezTo>
                  <a:pt x="478" y="263"/>
                  <a:pt x="484" y="237"/>
                  <a:pt x="484" y="213"/>
                </a:cubicBezTo>
                <a:close/>
                <a:moveTo>
                  <a:pt x="428" y="144"/>
                </a:moveTo>
                <a:cubicBezTo>
                  <a:pt x="443" y="144"/>
                  <a:pt x="460" y="173"/>
                  <a:pt x="460" y="213"/>
                </a:cubicBezTo>
                <a:cubicBezTo>
                  <a:pt x="460" y="246"/>
                  <a:pt x="448" y="266"/>
                  <a:pt x="428" y="266"/>
                </a:cubicBezTo>
                <a:cubicBezTo>
                  <a:pt x="408" y="266"/>
                  <a:pt x="396" y="246"/>
                  <a:pt x="396" y="213"/>
                </a:cubicBezTo>
                <a:cubicBezTo>
                  <a:pt x="396" y="173"/>
                  <a:pt x="413" y="144"/>
                  <a:pt x="428" y="144"/>
                </a:cubicBezTo>
                <a:close/>
                <a:moveTo>
                  <a:pt x="436" y="477"/>
                </a:moveTo>
                <a:cubicBezTo>
                  <a:pt x="419" y="477"/>
                  <a:pt x="419" y="477"/>
                  <a:pt x="419" y="477"/>
                </a:cubicBezTo>
                <a:cubicBezTo>
                  <a:pt x="419" y="290"/>
                  <a:pt x="419" y="290"/>
                  <a:pt x="419" y="290"/>
                </a:cubicBezTo>
                <a:cubicBezTo>
                  <a:pt x="422" y="290"/>
                  <a:pt x="425" y="290"/>
                  <a:pt x="428" y="290"/>
                </a:cubicBezTo>
                <a:cubicBezTo>
                  <a:pt x="431" y="290"/>
                  <a:pt x="434" y="290"/>
                  <a:pt x="436" y="290"/>
                </a:cubicBezTo>
                <a:lnTo>
                  <a:pt x="436" y="477"/>
                </a:lnTo>
                <a:close/>
                <a:moveTo>
                  <a:pt x="321" y="68"/>
                </a:moveTo>
                <a:cubicBezTo>
                  <a:pt x="282" y="68"/>
                  <a:pt x="250" y="105"/>
                  <a:pt x="250" y="149"/>
                </a:cubicBezTo>
                <a:cubicBezTo>
                  <a:pt x="250" y="188"/>
                  <a:pt x="249" y="291"/>
                  <a:pt x="249" y="292"/>
                </a:cubicBezTo>
                <a:cubicBezTo>
                  <a:pt x="249" y="304"/>
                  <a:pt x="249" y="304"/>
                  <a:pt x="249" y="304"/>
                </a:cubicBezTo>
                <a:cubicBezTo>
                  <a:pt x="267" y="304"/>
                  <a:pt x="267" y="304"/>
                  <a:pt x="267" y="304"/>
                </a:cubicBezTo>
                <a:cubicBezTo>
                  <a:pt x="267" y="501"/>
                  <a:pt x="267" y="501"/>
                  <a:pt x="267" y="501"/>
                </a:cubicBezTo>
                <a:cubicBezTo>
                  <a:pt x="333" y="501"/>
                  <a:pt x="333" y="501"/>
                  <a:pt x="333" y="501"/>
                </a:cubicBezTo>
                <a:cubicBezTo>
                  <a:pt x="333" y="303"/>
                  <a:pt x="333" y="303"/>
                  <a:pt x="333" y="303"/>
                </a:cubicBezTo>
                <a:cubicBezTo>
                  <a:pt x="333" y="209"/>
                  <a:pt x="333" y="209"/>
                  <a:pt x="333" y="209"/>
                </a:cubicBezTo>
                <a:cubicBezTo>
                  <a:pt x="333" y="68"/>
                  <a:pt x="333" y="68"/>
                  <a:pt x="333" y="68"/>
                </a:cubicBezTo>
                <a:lnTo>
                  <a:pt x="321" y="68"/>
                </a:lnTo>
                <a:close/>
                <a:moveTo>
                  <a:pt x="274" y="149"/>
                </a:moveTo>
                <a:cubicBezTo>
                  <a:pt x="274" y="124"/>
                  <a:pt x="289" y="101"/>
                  <a:pt x="308" y="94"/>
                </a:cubicBezTo>
                <a:cubicBezTo>
                  <a:pt x="308" y="279"/>
                  <a:pt x="308" y="279"/>
                  <a:pt x="308" y="279"/>
                </a:cubicBezTo>
                <a:cubicBezTo>
                  <a:pt x="274" y="279"/>
                  <a:pt x="274" y="279"/>
                  <a:pt x="274" y="279"/>
                </a:cubicBezTo>
                <a:cubicBezTo>
                  <a:pt x="274" y="250"/>
                  <a:pt x="274" y="180"/>
                  <a:pt x="274" y="149"/>
                </a:cubicBezTo>
                <a:close/>
                <a:moveTo>
                  <a:pt x="308" y="477"/>
                </a:moveTo>
                <a:cubicBezTo>
                  <a:pt x="291" y="477"/>
                  <a:pt x="291" y="477"/>
                  <a:pt x="291" y="477"/>
                </a:cubicBezTo>
                <a:cubicBezTo>
                  <a:pt x="291" y="304"/>
                  <a:pt x="291" y="304"/>
                  <a:pt x="291" y="304"/>
                </a:cubicBezTo>
                <a:cubicBezTo>
                  <a:pt x="308" y="303"/>
                  <a:pt x="308" y="303"/>
                  <a:pt x="308" y="303"/>
                </a:cubicBezTo>
                <a:lnTo>
                  <a:pt x="308" y="477"/>
                </a:lnTo>
                <a:close/>
                <a:moveTo>
                  <a:pt x="93" y="120"/>
                </a:moveTo>
                <a:cubicBezTo>
                  <a:pt x="93" y="221"/>
                  <a:pt x="93" y="221"/>
                  <a:pt x="93" y="221"/>
                </a:cubicBezTo>
                <a:cubicBezTo>
                  <a:pt x="93" y="249"/>
                  <a:pt x="100" y="279"/>
                  <a:pt x="121" y="295"/>
                </a:cubicBezTo>
                <a:cubicBezTo>
                  <a:pt x="121" y="501"/>
                  <a:pt x="121" y="501"/>
                  <a:pt x="121" y="501"/>
                </a:cubicBezTo>
                <a:cubicBezTo>
                  <a:pt x="187" y="501"/>
                  <a:pt x="187" y="501"/>
                  <a:pt x="187" y="501"/>
                </a:cubicBezTo>
                <a:cubicBezTo>
                  <a:pt x="187" y="295"/>
                  <a:pt x="187" y="295"/>
                  <a:pt x="187" y="295"/>
                </a:cubicBezTo>
                <a:cubicBezTo>
                  <a:pt x="207" y="279"/>
                  <a:pt x="215" y="249"/>
                  <a:pt x="215" y="221"/>
                </a:cubicBezTo>
                <a:cubicBezTo>
                  <a:pt x="215" y="120"/>
                  <a:pt x="215" y="120"/>
                  <a:pt x="215" y="120"/>
                </a:cubicBezTo>
                <a:lnTo>
                  <a:pt x="93" y="120"/>
                </a:lnTo>
                <a:close/>
                <a:moveTo>
                  <a:pt x="162" y="477"/>
                </a:moveTo>
                <a:cubicBezTo>
                  <a:pt x="145" y="477"/>
                  <a:pt x="145" y="477"/>
                  <a:pt x="145" y="477"/>
                </a:cubicBezTo>
                <a:cubicBezTo>
                  <a:pt x="145" y="305"/>
                  <a:pt x="145" y="305"/>
                  <a:pt x="145" y="305"/>
                </a:cubicBezTo>
                <a:cubicBezTo>
                  <a:pt x="148" y="306"/>
                  <a:pt x="151" y="306"/>
                  <a:pt x="154" y="306"/>
                </a:cubicBezTo>
                <a:cubicBezTo>
                  <a:pt x="157" y="306"/>
                  <a:pt x="160" y="306"/>
                  <a:pt x="162" y="305"/>
                </a:cubicBezTo>
                <a:lnTo>
                  <a:pt x="162" y="477"/>
                </a:lnTo>
                <a:close/>
                <a:moveTo>
                  <a:pt x="191" y="221"/>
                </a:moveTo>
                <a:cubicBezTo>
                  <a:pt x="191" y="259"/>
                  <a:pt x="177" y="281"/>
                  <a:pt x="154" y="281"/>
                </a:cubicBezTo>
                <a:cubicBezTo>
                  <a:pt x="131" y="281"/>
                  <a:pt x="117" y="259"/>
                  <a:pt x="117" y="221"/>
                </a:cubicBezTo>
                <a:cubicBezTo>
                  <a:pt x="117" y="144"/>
                  <a:pt x="117" y="144"/>
                  <a:pt x="117" y="144"/>
                </a:cubicBezTo>
                <a:cubicBezTo>
                  <a:pt x="131" y="144"/>
                  <a:pt x="131" y="144"/>
                  <a:pt x="131" y="144"/>
                </a:cubicBezTo>
                <a:cubicBezTo>
                  <a:pt x="131" y="209"/>
                  <a:pt x="131" y="209"/>
                  <a:pt x="131" y="209"/>
                </a:cubicBezTo>
                <a:cubicBezTo>
                  <a:pt x="147" y="209"/>
                  <a:pt x="147" y="209"/>
                  <a:pt x="147" y="209"/>
                </a:cubicBezTo>
                <a:cubicBezTo>
                  <a:pt x="147" y="144"/>
                  <a:pt x="147" y="144"/>
                  <a:pt x="147" y="144"/>
                </a:cubicBezTo>
                <a:cubicBezTo>
                  <a:pt x="160" y="144"/>
                  <a:pt x="160" y="144"/>
                  <a:pt x="160" y="144"/>
                </a:cubicBezTo>
                <a:cubicBezTo>
                  <a:pt x="160" y="209"/>
                  <a:pt x="160" y="209"/>
                  <a:pt x="160" y="209"/>
                </a:cubicBezTo>
                <a:cubicBezTo>
                  <a:pt x="176" y="209"/>
                  <a:pt x="176" y="209"/>
                  <a:pt x="176" y="209"/>
                </a:cubicBezTo>
                <a:cubicBezTo>
                  <a:pt x="176" y="144"/>
                  <a:pt x="176" y="144"/>
                  <a:pt x="176" y="144"/>
                </a:cubicBezTo>
                <a:cubicBezTo>
                  <a:pt x="191" y="144"/>
                  <a:pt x="191" y="144"/>
                  <a:pt x="191" y="144"/>
                </a:cubicBezTo>
                <a:lnTo>
                  <a:pt x="191" y="22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3" name="Group 2">
            <a:extLst>
              <a:ext uri="{FF2B5EF4-FFF2-40B4-BE49-F238E27FC236}">
                <a16:creationId xmlns:a16="http://schemas.microsoft.com/office/drawing/2014/main" id="{FF589404-C524-8B53-D19D-71F7CE145F34}"/>
              </a:ext>
            </a:extLst>
          </p:cNvPr>
          <p:cNvGrpSpPr/>
          <p:nvPr/>
        </p:nvGrpSpPr>
        <p:grpSpPr>
          <a:xfrm>
            <a:off x="8844369" y="159786"/>
            <a:ext cx="2904719" cy="220267"/>
            <a:chOff x="8844369" y="159786"/>
            <a:chExt cx="2904719" cy="220267"/>
          </a:xfrm>
        </p:grpSpPr>
        <p:sp>
          <p:nvSpPr>
            <p:cNvPr id="4" name="Rectangle 3">
              <a:extLst>
                <a:ext uri="{FF2B5EF4-FFF2-40B4-BE49-F238E27FC236}">
                  <a16:creationId xmlns:a16="http://schemas.microsoft.com/office/drawing/2014/main" id="{8ABC8275-28E8-E6A7-3172-FEF9BD559ABA}"/>
                </a:ext>
              </a:extLst>
            </p:cNvPr>
            <p:cNvSpPr/>
            <p:nvPr/>
          </p:nvSpPr>
          <p:spPr>
            <a:xfrm>
              <a:off x="9327597" y="159786"/>
              <a:ext cx="2179876"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ntropogēn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071D76AA-7BE2-97A2-6AEF-9583FC27000A}"/>
                </a:ext>
              </a:extLst>
            </p:cNvPr>
            <p:cNvSpPr/>
            <p:nvPr/>
          </p:nvSpPr>
          <p:spPr>
            <a:xfrm>
              <a:off x="9085983"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AF5B2389-8166-299D-A0B5-8B6C18B9C38C}"/>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412533DA-E49E-45CB-AF64-20B5F52592D3}"/>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8701825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E384B44-88CC-8F76-E9AF-DBDBDD24EECE}"/>
              </a:ext>
            </a:extLst>
          </p:cNvPr>
          <p:cNvSpPr/>
          <p:nvPr/>
        </p:nvSpPr>
        <p:spPr>
          <a:xfrm>
            <a:off x="442913" y="1819275"/>
            <a:ext cx="1065928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 atrodaties ārpus telpām:</a:t>
            </a:r>
          </a:p>
        </p:txBody>
      </p:sp>
      <p:sp>
        <p:nvSpPr>
          <p:cNvPr id="61" name="Rectangle 60">
            <a:extLst>
              <a:ext uri="{FF2B5EF4-FFF2-40B4-BE49-F238E27FC236}">
                <a16:creationId xmlns:a16="http://schemas.microsoft.com/office/drawing/2014/main" id="{36EC9590-1EE1-4A70-E132-4F25FB2A166A}"/>
              </a:ext>
            </a:extLst>
          </p:cNvPr>
          <p:cNvSpPr/>
          <p:nvPr/>
        </p:nvSpPr>
        <p:spPr>
          <a:xfrm>
            <a:off x="11173087" y="1819202"/>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413"/>
            <a:ext cx="4808960" cy="6969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iespējams, lietojiet auduma, medicīniskās vai FFP2 maskas.</a:t>
            </a:r>
          </a:p>
        </p:txBody>
      </p:sp>
      <p:sp>
        <p:nvSpPr>
          <p:cNvPr id="57" name="Rectangle 56">
            <a:extLst>
              <a:ext uri="{FF2B5EF4-FFF2-40B4-BE49-F238E27FC236}">
                <a16:creationId xmlns:a16="http://schemas.microsoft.com/office/drawing/2014/main" id="{A073C5EE-5299-ADD0-94D7-3170276FA166}"/>
              </a:ext>
            </a:extLst>
          </p:cNvPr>
          <p:cNvSpPr/>
          <p:nvPr/>
        </p:nvSpPr>
        <p:spPr>
          <a:xfrm>
            <a:off x="442913" y="2549922"/>
            <a:ext cx="576263" cy="67490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436536"/>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2807FCC7-6EAD-0C0D-B605-03EEAC731F8C}"/>
              </a:ext>
            </a:extLst>
          </p:cNvPr>
          <p:cNvSpPr/>
          <p:nvPr/>
        </p:nvSpPr>
        <p:spPr>
          <a:xfrm>
            <a:off x="11102199" y="1819202"/>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Radiācijas</a:t>
            </a:r>
            <a:r>
              <a:rPr lang="en-GB"/>
              <a:t> </a:t>
            </a:r>
            <a:r>
              <a:rPr lang="en-GB" err="1"/>
              <a:t>avārijas</a:t>
            </a:r>
            <a:br>
              <a:rPr lang="lv-LV"/>
            </a:br>
            <a:r>
              <a:rPr lang="lv-LV">
                <a:solidFill>
                  <a:srgbClr val="A8192D"/>
                </a:solidFill>
              </a:rPr>
              <a:t>Kā rīkoties? (2/4)</a:t>
            </a:r>
            <a:endParaRPr lang="en-GB"/>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453586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0397F1B3-1DAC-781B-5BE5-08FA024DC19C}"/>
              </a:ext>
            </a:extLst>
          </p:cNvPr>
          <p:cNvSpPr/>
          <p:nvPr/>
        </p:nvSpPr>
        <p:spPr>
          <a:xfrm>
            <a:off x="1107653" y="3637746"/>
            <a:ext cx="4808538" cy="6969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Ievērojiet personīgo higiēnu - izvairieties no roku saskares ar seju, ieejot telpās mazgājiet roka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4739531"/>
            <a:ext cx="4808538" cy="69726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veicat darbus ārpus telpām, to izpildes laikā nelietojiet dzērienus, pārtikas produktus, kā arī nesmēķējiet.</a:t>
            </a:r>
          </a:p>
        </p:txBody>
      </p:sp>
      <p:sp>
        <p:nvSpPr>
          <p:cNvPr id="42" name="Rectangle 41">
            <a:extLst>
              <a:ext uri="{FF2B5EF4-FFF2-40B4-BE49-F238E27FC236}">
                <a16:creationId xmlns:a16="http://schemas.microsoft.com/office/drawing/2014/main" id="{986F6EBD-76CF-AA8A-DC11-0900DE8A8EB0}"/>
              </a:ext>
            </a:extLst>
          </p:cNvPr>
          <p:cNvSpPr/>
          <p:nvPr/>
        </p:nvSpPr>
        <p:spPr>
          <a:xfrm>
            <a:off x="6940549" y="2568659"/>
            <a:ext cx="4808538" cy="927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0" i="0">
                <a:solidFill>
                  <a:schemeClr val="tx1"/>
                </a:solidFill>
                <a:effectLst/>
              </a:rPr>
              <a:t>Ieejot iekštelpās, ieteicams nomainīt apavus un apģērbu. Novilkto apģērbu ievietojiet polietilēna maisā un novietojiet vietā, kur neatrodas cilvēki. Pēc tam apģērbu var mazgāt un lietot atkārtoti.</a:t>
            </a:r>
          </a:p>
        </p:txBody>
      </p:sp>
      <p:sp>
        <p:nvSpPr>
          <p:cNvPr id="72" name="Rectangle 71">
            <a:extLst>
              <a:ext uri="{FF2B5EF4-FFF2-40B4-BE49-F238E27FC236}">
                <a16:creationId xmlns:a16="http://schemas.microsoft.com/office/drawing/2014/main" id="{2543AFCA-7DBC-4F76-9DA2-D2643AE45BA9}"/>
              </a:ext>
            </a:extLst>
          </p:cNvPr>
          <p:cNvSpPr/>
          <p:nvPr/>
        </p:nvSpPr>
        <p:spPr>
          <a:xfrm>
            <a:off x="442913" y="3633724"/>
            <a:ext cx="576263" cy="6969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84579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4739531"/>
            <a:ext cx="576263" cy="6969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95159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6275809" y="2549922"/>
            <a:ext cx="576263" cy="92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6392203" y="289555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5</a:t>
            </a:fld>
            <a:endParaRPr lang="en-GB"/>
          </a:p>
        </p:txBody>
      </p:sp>
      <p:sp>
        <p:nvSpPr>
          <p:cNvPr id="9" name="TextBox 8">
            <a:extLst>
              <a:ext uri="{FF2B5EF4-FFF2-40B4-BE49-F238E27FC236}">
                <a16:creationId xmlns:a16="http://schemas.microsoft.com/office/drawing/2014/main" id="{A60B2152-534E-51B4-687F-152F4DFE85AF}"/>
              </a:ext>
            </a:extLst>
          </p:cNvPr>
          <p:cNvSpPr txBox="1"/>
          <p:nvPr/>
        </p:nvSpPr>
        <p:spPr>
          <a:xfrm>
            <a:off x="406336" y="1468020"/>
            <a:ext cx="12042378" cy="338554"/>
          </a:xfrm>
          <a:prstGeom prst="rect">
            <a:avLst/>
          </a:prstGeom>
          <a:noFill/>
        </p:spPr>
        <p:txBody>
          <a:bodyPr wrap="square">
            <a:spAutoFit/>
          </a:bodyPr>
          <a:lstStyle/>
          <a:p>
            <a:r>
              <a:rPr lang="lv-LV" sz="1600" b="1">
                <a:solidFill>
                  <a:srgbClr val="A8192D"/>
                </a:solidFill>
              </a:rPr>
              <a:t>Kā rīkoties līdz situācijas izvērtējumam, ja notikusi radioaktīvo vielu noplūde ārpus Latvijas?</a:t>
            </a:r>
          </a:p>
        </p:txBody>
      </p:sp>
      <p:grpSp>
        <p:nvGrpSpPr>
          <p:cNvPr id="3" name="Graphic 58">
            <a:extLst>
              <a:ext uri="{FF2B5EF4-FFF2-40B4-BE49-F238E27FC236}">
                <a16:creationId xmlns:a16="http://schemas.microsoft.com/office/drawing/2014/main" id="{CEE2B732-AE6B-E304-5351-06EC57D60C02}"/>
              </a:ext>
            </a:extLst>
          </p:cNvPr>
          <p:cNvGrpSpPr/>
          <p:nvPr/>
        </p:nvGrpSpPr>
        <p:grpSpPr>
          <a:xfrm>
            <a:off x="11281643" y="1927202"/>
            <a:ext cx="360000" cy="360000"/>
            <a:chOff x="6475829" y="2560815"/>
            <a:chExt cx="457200" cy="457200"/>
          </a:xfrm>
          <a:solidFill>
            <a:schemeClr val="bg1"/>
          </a:solidFill>
        </p:grpSpPr>
        <p:grpSp>
          <p:nvGrpSpPr>
            <p:cNvPr id="4" name="Graphic 58">
              <a:extLst>
                <a:ext uri="{FF2B5EF4-FFF2-40B4-BE49-F238E27FC236}">
                  <a16:creationId xmlns:a16="http://schemas.microsoft.com/office/drawing/2014/main" id="{5D70009D-6D01-DFBD-9BD6-AEF418530DCE}"/>
                </a:ext>
              </a:extLst>
            </p:cNvPr>
            <p:cNvGrpSpPr/>
            <p:nvPr/>
          </p:nvGrpSpPr>
          <p:grpSpPr>
            <a:xfrm>
              <a:off x="6475829" y="2560815"/>
              <a:ext cx="457200" cy="457200"/>
              <a:chOff x="6475829" y="2560815"/>
              <a:chExt cx="457200" cy="457200"/>
            </a:xfrm>
            <a:grpFill/>
          </p:grpSpPr>
          <p:sp>
            <p:nvSpPr>
              <p:cNvPr id="7" name="Freeform 95">
                <a:extLst>
                  <a:ext uri="{FF2B5EF4-FFF2-40B4-BE49-F238E27FC236}">
                    <a16:creationId xmlns:a16="http://schemas.microsoft.com/office/drawing/2014/main" id="{E5F50E5A-F177-55C3-1B8F-5E88D8F6D3BE}"/>
                  </a:ext>
                </a:extLst>
              </p:cNvPr>
              <p:cNvSpPr/>
              <p:nvPr/>
            </p:nvSpPr>
            <p:spPr>
              <a:xfrm>
                <a:off x="6695412" y="2712611"/>
                <a:ext cx="19526" cy="146049"/>
              </a:xfrm>
              <a:custGeom>
                <a:avLst/>
                <a:gdLst>
                  <a:gd name="connsiteX0" fmla="*/ 19526 w 19526"/>
                  <a:gd name="connsiteY0" fmla="*/ 146050 h 146049"/>
                  <a:gd name="connsiteX1" fmla="*/ 0 w 19526"/>
                  <a:gd name="connsiteY1" fmla="*/ 146050 h 146049"/>
                  <a:gd name="connsiteX2" fmla="*/ 0 w 19526"/>
                  <a:gd name="connsiteY2" fmla="*/ 127000 h 146049"/>
                  <a:gd name="connsiteX3" fmla="*/ 19526 w 19526"/>
                  <a:gd name="connsiteY3" fmla="*/ 127000 h 146049"/>
                  <a:gd name="connsiteX4" fmla="*/ 19526 w 19526"/>
                  <a:gd name="connsiteY4" fmla="*/ 82550 h 146049"/>
                  <a:gd name="connsiteX5" fmla="*/ 0 w 19526"/>
                  <a:gd name="connsiteY5" fmla="*/ 82550 h 146049"/>
                  <a:gd name="connsiteX6" fmla="*/ 0 w 19526"/>
                  <a:gd name="connsiteY6" fmla="*/ 63500 h 146049"/>
                  <a:gd name="connsiteX7" fmla="*/ 19526 w 19526"/>
                  <a:gd name="connsiteY7" fmla="*/ 63500 h 146049"/>
                  <a:gd name="connsiteX8" fmla="*/ 19526 w 19526"/>
                  <a:gd name="connsiteY8" fmla="*/ 19050 h 146049"/>
                  <a:gd name="connsiteX9" fmla="*/ 0 w 19526"/>
                  <a:gd name="connsiteY9" fmla="*/ 19050 h 146049"/>
                  <a:gd name="connsiteX10" fmla="*/ 0 w 19526"/>
                  <a:gd name="connsiteY10" fmla="*/ 0 h 146049"/>
                  <a:gd name="connsiteX11" fmla="*/ 19526 w 19526"/>
                  <a:gd name="connsiteY11" fmla="*/ 0 h 146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26" h="146049">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w="3175" cap="flat">
                <a:noFill/>
                <a:prstDash val="solid"/>
                <a:miter/>
              </a:ln>
            </p:spPr>
            <p:txBody>
              <a:bodyPr rtlCol="0" anchor="ctr"/>
              <a:lstStyle/>
              <a:p>
                <a:endParaRPr lang="en-GB"/>
              </a:p>
            </p:txBody>
          </p:sp>
          <p:sp>
            <p:nvSpPr>
              <p:cNvPr id="10" name="Freeform 98">
                <a:extLst>
                  <a:ext uri="{FF2B5EF4-FFF2-40B4-BE49-F238E27FC236}">
                    <a16:creationId xmlns:a16="http://schemas.microsoft.com/office/drawing/2014/main" id="{423B388D-0CE5-CD1F-5FCC-A75D145B332D}"/>
                  </a:ext>
                </a:extLst>
              </p:cNvPr>
              <p:cNvSpPr/>
              <p:nvPr/>
            </p:nvSpPr>
            <p:spPr>
              <a:xfrm>
                <a:off x="6767135" y="2712579"/>
                <a:ext cx="19526" cy="273050"/>
              </a:xfrm>
              <a:custGeom>
                <a:avLst/>
                <a:gdLst>
                  <a:gd name="connsiteX0" fmla="*/ 19526 w 19526"/>
                  <a:gd name="connsiteY0" fmla="*/ 273050 h 273050"/>
                  <a:gd name="connsiteX1" fmla="*/ 0 w 19526"/>
                  <a:gd name="connsiteY1" fmla="*/ 273050 h 273050"/>
                  <a:gd name="connsiteX2" fmla="*/ 0 w 19526"/>
                  <a:gd name="connsiteY2" fmla="*/ 254000 h 273050"/>
                  <a:gd name="connsiteX3" fmla="*/ 19526 w 19526"/>
                  <a:gd name="connsiteY3" fmla="*/ 254000 h 273050"/>
                  <a:gd name="connsiteX4" fmla="*/ 19526 w 19526"/>
                  <a:gd name="connsiteY4" fmla="*/ 209550 h 273050"/>
                  <a:gd name="connsiteX5" fmla="*/ 0 w 19526"/>
                  <a:gd name="connsiteY5" fmla="*/ 209550 h 273050"/>
                  <a:gd name="connsiteX6" fmla="*/ 0 w 19526"/>
                  <a:gd name="connsiteY6" fmla="*/ 190500 h 273050"/>
                  <a:gd name="connsiteX7" fmla="*/ 19526 w 19526"/>
                  <a:gd name="connsiteY7" fmla="*/ 190500 h 273050"/>
                  <a:gd name="connsiteX8" fmla="*/ 19526 w 19526"/>
                  <a:gd name="connsiteY8" fmla="*/ 146050 h 273050"/>
                  <a:gd name="connsiteX9" fmla="*/ 0 w 19526"/>
                  <a:gd name="connsiteY9" fmla="*/ 146050 h 273050"/>
                  <a:gd name="connsiteX10" fmla="*/ 0 w 19526"/>
                  <a:gd name="connsiteY10" fmla="*/ 127000 h 273050"/>
                  <a:gd name="connsiteX11" fmla="*/ 19526 w 19526"/>
                  <a:gd name="connsiteY11" fmla="*/ 127000 h 273050"/>
                  <a:gd name="connsiteX12" fmla="*/ 19526 w 19526"/>
                  <a:gd name="connsiteY12" fmla="*/ 82550 h 273050"/>
                  <a:gd name="connsiteX13" fmla="*/ 0 w 19526"/>
                  <a:gd name="connsiteY13" fmla="*/ 82550 h 273050"/>
                  <a:gd name="connsiteX14" fmla="*/ 0 w 19526"/>
                  <a:gd name="connsiteY14" fmla="*/ 63500 h 273050"/>
                  <a:gd name="connsiteX15" fmla="*/ 19526 w 19526"/>
                  <a:gd name="connsiteY15" fmla="*/ 63500 h 273050"/>
                  <a:gd name="connsiteX16" fmla="*/ 19526 w 19526"/>
                  <a:gd name="connsiteY16" fmla="*/ 19050 h 273050"/>
                  <a:gd name="connsiteX17" fmla="*/ 0 w 19526"/>
                  <a:gd name="connsiteY17" fmla="*/ 19050 h 273050"/>
                  <a:gd name="connsiteX18" fmla="*/ 0 w 19526"/>
                  <a:gd name="connsiteY18" fmla="*/ 0 h 273050"/>
                  <a:gd name="connsiteX19" fmla="*/ 19526 w 19526"/>
                  <a:gd name="connsiteY19" fmla="*/ 0 h 27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526" h="27305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w="3175" cap="flat">
                <a:noFill/>
                <a:prstDash val="solid"/>
                <a:miter/>
              </a:ln>
            </p:spPr>
            <p:txBody>
              <a:bodyPr rtlCol="0" anchor="ctr"/>
              <a:lstStyle/>
              <a:p>
                <a:endParaRPr lang="en-GB"/>
              </a:p>
            </p:txBody>
          </p:sp>
          <p:sp>
            <p:nvSpPr>
              <p:cNvPr id="12" name="Freeform 102">
                <a:extLst>
                  <a:ext uri="{FF2B5EF4-FFF2-40B4-BE49-F238E27FC236}">
                    <a16:creationId xmlns:a16="http://schemas.microsoft.com/office/drawing/2014/main" id="{5B947381-4A9E-45CF-5F5C-42E011A987F6}"/>
                  </a:ext>
                </a:extLst>
              </p:cNvPr>
              <p:cNvSpPr/>
              <p:nvPr/>
            </p:nvSpPr>
            <p:spPr>
              <a:xfrm>
                <a:off x="6623657" y="2839580"/>
                <a:ext cx="19526" cy="146050"/>
              </a:xfrm>
              <a:custGeom>
                <a:avLst/>
                <a:gdLst>
                  <a:gd name="connsiteX0" fmla="*/ 19526 w 19526"/>
                  <a:gd name="connsiteY0" fmla="*/ 146050 h 146050"/>
                  <a:gd name="connsiteX1" fmla="*/ 0 w 19526"/>
                  <a:gd name="connsiteY1" fmla="*/ 146050 h 146050"/>
                  <a:gd name="connsiteX2" fmla="*/ 0 w 19526"/>
                  <a:gd name="connsiteY2" fmla="*/ 127000 h 146050"/>
                  <a:gd name="connsiteX3" fmla="*/ 19526 w 19526"/>
                  <a:gd name="connsiteY3" fmla="*/ 127000 h 146050"/>
                  <a:gd name="connsiteX4" fmla="*/ 19526 w 19526"/>
                  <a:gd name="connsiteY4" fmla="*/ 82550 h 146050"/>
                  <a:gd name="connsiteX5" fmla="*/ 0 w 19526"/>
                  <a:gd name="connsiteY5" fmla="*/ 82550 h 146050"/>
                  <a:gd name="connsiteX6" fmla="*/ 0 w 19526"/>
                  <a:gd name="connsiteY6" fmla="*/ 63500 h 146050"/>
                  <a:gd name="connsiteX7" fmla="*/ 19526 w 19526"/>
                  <a:gd name="connsiteY7" fmla="*/ 63500 h 146050"/>
                  <a:gd name="connsiteX8" fmla="*/ 19526 w 19526"/>
                  <a:gd name="connsiteY8" fmla="*/ 19050 h 146050"/>
                  <a:gd name="connsiteX9" fmla="*/ 0 w 19526"/>
                  <a:gd name="connsiteY9" fmla="*/ 19050 h 146050"/>
                  <a:gd name="connsiteX10" fmla="*/ 0 w 19526"/>
                  <a:gd name="connsiteY10" fmla="*/ 0 h 146050"/>
                  <a:gd name="connsiteX11" fmla="*/ 19526 w 19526"/>
                  <a:gd name="connsiteY11" fmla="*/ 0 h 14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26" h="14605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w="3175" cap="flat">
                <a:noFill/>
                <a:prstDash val="solid"/>
                <a:miter/>
              </a:ln>
            </p:spPr>
            <p:txBody>
              <a:bodyPr rtlCol="0" anchor="ctr"/>
              <a:lstStyle/>
              <a:p>
                <a:endParaRPr lang="en-GB"/>
              </a:p>
            </p:txBody>
          </p:sp>
          <p:sp>
            <p:nvSpPr>
              <p:cNvPr id="13" name="Freeform 103">
                <a:extLst>
                  <a:ext uri="{FF2B5EF4-FFF2-40B4-BE49-F238E27FC236}">
                    <a16:creationId xmlns:a16="http://schemas.microsoft.com/office/drawing/2014/main" id="{5DE0C094-C7F5-89DD-5FDC-A31575364B31}"/>
                  </a:ext>
                </a:extLst>
              </p:cNvPr>
              <p:cNvSpPr/>
              <p:nvPr/>
            </p:nvSpPr>
            <p:spPr>
              <a:xfrm>
                <a:off x="6475829" y="2560815"/>
                <a:ext cx="457200" cy="457200"/>
              </a:xfrm>
              <a:custGeom>
                <a:avLst/>
                <a:gdLst>
                  <a:gd name="connsiteX0" fmla="*/ 0 w 457200"/>
                  <a:gd name="connsiteY0" fmla="*/ 0 h 457200"/>
                  <a:gd name="connsiteX1" fmla="*/ 0 w 457200"/>
                  <a:gd name="connsiteY1" fmla="*/ 457200 h 457200"/>
                  <a:gd name="connsiteX2" fmla="*/ 103092 w 457200"/>
                  <a:gd name="connsiteY2" fmla="*/ 457200 h 457200"/>
                  <a:gd name="connsiteX3" fmla="*/ 103092 w 457200"/>
                  <a:gd name="connsiteY3" fmla="*/ 421259 h 457200"/>
                  <a:gd name="connsiteX4" fmla="*/ 103092 w 457200"/>
                  <a:gd name="connsiteY4" fmla="*/ 421259 h 457200"/>
                  <a:gd name="connsiteX5" fmla="*/ 103092 w 457200"/>
                  <a:gd name="connsiteY5" fmla="*/ 233204 h 457200"/>
                  <a:gd name="connsiteX6" fmla="*/ 167354 w 457200"/>
                  <a:gd name="connsiteY6" fmla="*/ 233204 h 457200"/>
                  <a:gd name="connsiteX7" fmla="*/ 167354 w 457200"/>
                  <a:gd name="connsiteY7" fmla="*/ 109379 h 457200"/>
                  <a:gd name="connsiteX8" fmla="*/ 354965 w 457200"/>
                  <a:gd name="connsiteY8" fmla="*/ 109379 h 457200"/>
                  <a:gd name="connsiteX9" fmla="*/ 354965 w 457200"/>
                  <a:gd name="connsiteY9" fmla="*/ 437547 h 457200"/>
                  <a:gd name="connsiteX10" fmla="*/ 354965 w 457200"/>
                  <a:gd name="connsiteY10" fmla="*/ 437547 h 457200"/>
                  <a:gd name="connsiteX11" fmla="*/ 354965 w 457200"/>
                  <a:gd name="connsiteY11" fmla="*/ 457200 h 457200"/>
                  <a:gd name="connsiteX12" fmla="*/ 457200 w 457200"/>
                  <a:gd name="connsiteY12" fmla="*/ 457200 h 457200"/>
                  <a:gd name="connsiteX13" fmla="*/ 457200 w 457200"/>
                  <a:gd name="connsiteY13" fmla="*/ 0 h 457200"/>
                  <a:gd name="connsiteX14" fmla="*/ 437706 w 457200"/>
                  <a:gd name="connsiteY14" fmla="*/ 437706 h 457200"/>
                  <a:gd name="connsiteX15" fmla="*/ 374650 w 457200"/>
                  <a:gd name="connsiteY15" fmla="*/ 437706 h 457200"/>
                  <a:gd name="connsiteX16" fmla="*/ 374650 w 457200"/>
                  <a:gd name="connsiteY16" fmla="*/ 89757 h 457200"/>
                  <a:gd name="connsiteX17" fmla="*/ 147828 w 457200"/>
                  <a:gd name="connsiteY17" fmla="*/ 89757 h 457200"/>
                  <a:gd name="connsiteX18" fmla="*/ 147828 w 457200"/>
                  <a:gd name="connsiteY18" fmla="*/ 213582 h 457200"/>
                  <a:gd name="connsiteX19" fmla="*/ 83566 w 457200"/>
                  <a:gd name="connsiteY19" fmla="*/ 213582 h 457200"/>
                  <a:gd name="connsiteX20" fmla="*/ 83566 w 457200"/>
                  <a:gd name="connsiteY20" fmla="*/ 437610 h 457200"/>
                  <a:gd name="connsiteX21" fmla="*/ 19495 w 457200"/>
                  <a:gd name="connsiteY21" fmla="*/ 437610 h 457200"/>
                  <a:gd name="connsiteX22" fmla="*/ 19495 w 457200"/>
                  <a:gd name="connsiteY22" fmla="*/ 19495 h 457200"/>
                  <a:gd name="connsiteX23" fmla="*/ 437706 w 457200"/>
                  <a:gd name="connsiteY23"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45720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w="3175" cap="flat">
                <a:noFill/>
                <a:prstDash val="solid"/>
                <a:miter/>
              </a:ln>
            </p:spPr>
            <p:txBody>
              <a:bodyPr rtlCol="0" anchor="ctr"/>
              <a:lstStyle/>
              <a:p>
                <a:endParaRPr lang="en-GB"/>
              </a:p>
            </p:txBody>
          </p:sp>
        </p:grpSp>
        <p:sp>
          <p:nvSpPr>
            <p:cNvPr id="5" name="Freeform 94">
              <a:extLst>
                <a:ext uri="{FF2B5EF4-FFF2-40B4-BE49-F238E27FC236}">
                  <a16:creationId xmlns:a16="http://schemas.microsoft.com/office/drawing/2014/main" id="{07FE5D5B-4462-1D01-2C4E-503B4F13BECE}"/>
                </a:ext>
              </a:extLst>
            </p:cNvPr>
            <p:cNvSpPr/>
            <p:nvPr/>
          </p:nvSpPr>
          <p:spPr>
            <a:xfrm>
              <a:off x="6664074" y="2899555"/>
              <a:ext cx="82168" cy="118459"/>
            </a:xfrm>
            <a:custGeom>
              <a:avLst/>
              <a:gdLst>
                <a:gd name="connsiteX0" fmla="*/ 41465 w 82168"/>
                <a:gd name="connsiteY0" fmla="*/ 118459 h 118459"/>
                <a:gd name="connsiteX1" fmla="*/ 82169 w 82168"/>
                <a:gd name="connsiteY1" fmla="*/ 77756 h 118459"/>
                <a:gd name="connsiteX2" fmla="*/ 68294 w 82168"/>
                <a:gd name="connsiteY2" fmla="*/ 63817 h 118459"/>
                <a:gd name="connsiteX3" fmla="*/ 51340 w 82168"/>
                <a:gd name="connsiteY3" fmla="*/ 80804 h 118459"/>
                <a:gd name="connsiteX4" fmla="*/ 51340 w 82168"/>
                <a:gd name="connsiteY4" fmla="*/ 0 h 118459"/>
                <a:gd name="connsiteX5" fmla="*/ 31655 w 82168"/>
                <a:gd name="connsiteY5" fmla="*/ 0 h 118459"/>
                <a:gd name="connsiteX6" fmla="*/ 31655 w 82168"/>
                <a:gd name="connsiteY6" fmla="*/ 80804 h 118459"/>
                <a:gd name="connsiteX7" fmla="*/ 13906 w 82168"/>
                <a:gd name="connsiteY7" fmla="*/ 63056 h 118459"/>
                <a:gd name="connsiteX8" fmla="*/ 0 w 82168"/>
                <a:gd name="connsiteY8" fmla="*/ 76962 h 118459"/>
                <a:gd name="connsiteX9" fmla="*/ 41465 w 82168"/>
                <a:gd name="connsiteY9" fmla="*/ 118459 h 118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168" h="118459">
                  <a:moveTo>
                    <a:pt x="41465" y="118459"/>
                  </a:moveTo>
                  <a:lnTo>
                    <a:pt x="82169" y="77756"/>
                  </a:lnTo>
                  <a:lnTo>
                    <a:pt x="68294" y="63817"/>
                  </a:lnTo>
                  <a:lnTo>
                    <a:pt x="51340" y="80804"/>
                  </a:lnTo>
                  <a:lnTo>
                    <a:pt x="51340" y="0"/>
                  </a:lnTo>
                  <a:lnTo>
                    <a:pt x="31655" y="0"/>
                  </a:lnTo>
                  <a:lnTo>
                    <a:pt x="31655" y="80804"/>
                  </a:lnTo>
                  <a:lnTo>
                    <a:pt x="13906" y="63056"/>
                  </a:lnTo>
                  <a:lnTo>
                    <a:pt x="0" y="76962"/>
                  </a:lnTo>
                  <a:lnTo>
                    <a:pt x="41465" y="118459"/>
                  </a:lnTo>
                </a:path>
              </a:pathLst>
            </a:custGeom>
            <a:grpFill/>
            <a:ln w="3175" cap="flat">
              <a:noFill/>
              <a:prstDash val="solid"/>
              <a:miter/>
            </a:ln>
          </p:spPr>
          <p:txBody>
            <a:bodyPr rtlCol="0" anchor="ctr"/>
            <a:lstStyle/>
            <a:p>
              <a:endParaRPr lang="en-GB"/>
            </a:p>
          </p:txBody>
        </p:sp>
      </p:grpSp>
      <p:cxnSp>
        <p:nvCxnSpPr>
          <p:cNvPr id="28" name="Straight Connector 27">
            <a:extLst>
              <a:ext uri="{FF2B5EF4-FFF2-40B4-BE49-F238E27FC236}">
                <a16:creationId xmlns:a16="http://schemas.microsoft.com/office/drawing/2014/main" id="{9A921EC8-4C9A-A5FC-7BB5-10AE549B4377}"/>
              </a:ext>
            </a:extLst>
          </p:cNvPr>
          <p:cNvCxnSpPr>
            <a:cxnSpLocks/>
          </p:cNvCxnSpPr>
          <p:nvPr/>
        </p:nvCxnSpPr>
        <p:spPr>
          <a:xfrm>
            <a:off x="6940549" y="363145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9" name="Rectangle 28">
            <a:extLst>
              <a:ext uri="{FF2B5EF4-FFF2-40B4-BE49-F238E27FC236}">
                <a16:creationId xmlns:a16="http://schemas.microsoft.com/office/drawing/2014/main" id="{10C96375-C3C4-F68B-CD89-A68C54AF8F84}"/>
              </a:ext>
            </a:extLst>
          </p:cNvPr>
          <p:cNvSpPr/>
          <p:nvPr/>
        </p:nvSpPr>
        <p:spPr>
          <a:xfrm>
            <a:off x="6940549" y="3769329"/>
            <a:ext cx="4808538" cy="6969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0" i="0">
                <a:solidFill>
                  <a:schemeClr val="tx1"/>
                </a:solidFill>
                <a:effectLst/>
              </a:rPr>
              <a:t>Ja uzturēšanās laikā ārpus telpām ir bijuši nokrišņi, atgriežoties telpās, ieteicams nomazgāties dušā.</a:t>
            </a:r>
          </a:p>
        </p:txBody>
      </p:sp>
      <p:sp>
        <p:nvSpPr>
          <p:cNvPr id="30" name="Rectangle 29">
            <a:extLst>
              <a:ext uri="{FF2B5EF4-FFF2-40B4-BE49-F238E27FC236}">
                <a16:creationId xmlns:a16="http://schemas.microsoft.com/office/drawing/2014/main" id="{496E6F77-AE06-7023-65AB-FAC5DCA8E6FF}"/>
              </a:ext>
            </a:extLst>
          </p:cNvPr>
          <p:cNvSpPr/>
          <p:nvPr/>
        </p:nvSpPr>
        <p:spPr>
          <a:xfrm>
            <a:off x="6275809" y="3769329"/>
            <a:ext cx="576263" cy="6969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1" name="L-Shape 30">
            <a:extLst>
              <a:ext uri="{FF2B5EF4-FFF2-40B4-BE49-F238E27FC236}">
                <a16:creationId xmlns:a16="http://schemas.microsoft.com/office/drawing/2014/main" id="{40C4A000-B75C-8725-3EB7-7A9CAD176A2D}"/>
              </a:ext>
            </a:extLst>
          </p:cNvPr>
          <p:cNvSpPr/>
          <p:nvPr/>
        </p:nvSpPr>
        <p:spPr>
          <a:xfrm rot="13500000">
            <a:off x="6392203" y="398139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2" name="Straight Connector 31">
            <a:extLst>
              <a:ext uri="{FF2B5EF4-FFF2-40B4-BE49-F238E27FC236}">
                <a16:creationId xmlns:a16="http://schemas.microsoft.com/office/drawing/2014/main" id="{1A3FD94C-D6BB-0439-6178-290572B34001}"/>
              </a:ext>
            </a:extLst>
          </p:cNvPr>
          <p:cNvCxnSpPr>
            <a:cxnSpLocks/>
          </p:cNvCxnSpPr>
          <p:nvPr/>
        </p:nvCxnSpPr>
        <p:spPr>
          <a:xfrm>
            <a:off x="6940549" y="4601660"/>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3" name="Rectangle 32">
            <a:extLst>
              <a:ext uri="{FF2B5EF4-FFF2-40B4-BE49-F238E27FC236}">
                <a16:creationId xmlns:a16="http://schemas.microsoft.com/office/drawing/2014/main" id="{6E8BF17C-53B5-630E-979A-3CC8264EEE44}"/>
              </a:ext>
            </a:extLst>
          </p:cNvPr>
          <p:cNvSpPr/>
          <p:nvPr/>
        </p:nvSpPr>
        <p:spPr>
          <a:xfrm>
            <a:off x="6940549" y="4739531"/>
            <a:ext cx="4808538" cy="69726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0" i="0">
                <a:solidFill>
                  <a:schemeClr val="tx1"/>
                </a:solidFill>
                <a:effectLst/>
              </a:rPr>
              <a:t>Nokrišņu laikā vēlams uzturēties pēc iespējas īsāku laiku ārā. Prioritāri ir jāuzturas iekštelpās.</a:t>
            </a:r>
          </a:p>
        </p:txBody>
      </p:sp>
      <p:sp>
        <p:nvSpPr>
          <p:cNvPr id="34" name="Rectangle 33">
            <a:extLst>
              <a:ext uri="{FF2B5EF4-FFF2-40B4-BE49-F238E27FC236}">
                <a16:creationId xmlns:a16="http://schemas.microsoft.com/office/drawing/2014/main" id="{ED0312F7-84B3-7C97-4A14-0976448A313E}"/>
              </a:ext>
            </a:extLst>
          </p:cNvPr>
          <p:cNvSpPr/>
          <p:nvPr/>
        </p:nvSpPr>
        <p:spPr>
          <a:xfrm>
            <a:off x="6275809" y="4739531"/>
            <a:ext cx="576263" cy="6973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5" name="L-Shape 34">
            <a:extLst>
              <a:ext uri="{FF2B5EF4-FFF2-40B4-BE49-F238E27FC236}">
                <a16:creationId xmlns:a16="http://schemas.microsoft.com/office/drawing/2014/main" id="{913D2FA7-9B6A-8F6C-7BFD-31911B1B939C}"/>
              </a:ext>
            </a:extLst>
          </p:cNvPr>
          <p:cNvSpPr/>
          <p:nvPr/>
        </p:nvSpPr>
        <p:spPr>
          <a:xfrm rot="13500000">
            <a:off x="6392203" y="495179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Rectangle 35">
            <a:extLst>
              <a:ext uri="{FF2B5EF4-FFF2-40B4-BE49-F238E27FC236}">
                <a16:creationId xmlns:a16="http://schemas.microsoft.com/office/drawing/2014/main" id="{5AD01DBC-AFD7-E800-0FE5-B09BD7E06B97}"/>
              </a:ext>
            </a:extLst>
          </p:cNvPr>
          <p:cNvSpPr/>
          <p:nvPr/>
        </p:nvSpPr>
        <p:spPr>
          <a:xfrm>
            <a:off x="442490" y="5596825"/>
            <a:ext cx="576263" cy="57421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7" name="Rectangle 36">
            <a:extLst>
              <a:ext uri="{FF2B5EF4-FFF2-40B4-BE49-F238E27FC236}">
                <a16:creationId xmlns:a16="http://schemas.microsoft.com/office/drawing/2014/main" id="{AD8200EF-88AC-AA65-E0B9-3F4573904EEF}"/>
              </a:ext>
            </a:extLst>
          </p:cNvPr>
          <p:cNvSpPr/>
          <p:nvPr/>
        </p:nvSpPr>
        <p:spPr>
          <a:xfrm>
            <a:off x="1018753" y="5596825"/>
            <a:ext cx="10730334" cy="57421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i="0">
                <a:solidFill>
                  <a:schemeClr val="bg1"/>
                </a:solidFill>
                <a:effectLst/>
              </a:rPr>
              <a:t>Radioaktīvais piesārņojums visbīstamākais ir pirmajās stundās. Ja iespējams, palieciet iekštelpās!</a:t>
            </a:r>
          </a:p>
        </p:txBody>
      </p:sp>
      <p:sp>
        <p:nvSpPr>
          <p:cNvPr id="39" name="L-Shape 38">
            <a:extLst>
              <a:ext uri="{FF2B5EF4-FFF2-40B4-BE49-F238E27FC236}">
                <a16:creationId xmlns:a16="http://schemas.microsoft.com/office/drawing/2014/main" id="{F4D83BB3-1E71-C674-4641-EC296C9E5DD3}"/>
              </a:ext>
            </a:extLst>
          </p:cNvPr>
          <p:cNvSpPr/>
          <p:nvPr/>
        </p:nvSpPr>
        <p:spPr>
          <a:xfrm rot="13500000">
            <a:off x="568833" y="5747544"/>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1" name="Group 10">
            <a:extLst>
              <a:ext uri="{FF2B5EF4-FFF2-40B4-BE49-F238E27FC236}">
                <a16:creationId xmlns:a16="http://schemas.microsoft.com/office/drawing/2014/main" id="{C9A8E99C-EF1B-E3E4-C22B-CC7EE53AC44C}"/>
              </a:ext>
            </a:extLst>
          </p:cNvPr>
          <p:cNvGrpSpPr/>
          <p:nvPr/>
        </p:nvGrpSpPr>
        <p:grpSpPr>
          <a:xfrm>
            <a:off x="8844369" y="159786"/>
            <a:ext cx="2904719" cy="220267"/>
            <a:chOff x="8844369" y="159786"/>
            <a:chExt cx="2904719" cy="220267"/>
          </a:xfrm>
        </p:grpSpPr>
        <p:sp>
          <p:nvSpPr>
            <p:cNvPr id="14" name="Rectangle 13">
              <a:extLst>
                <a:ext uri="{FF2B5EF4-FFF2-40B4-BE49-F238E27FC236}">
                  <a16:creationId xmlns:a16="http://schemas.microsoft.com/office/drawing/2014/main" id="{B3B8D5F4-9F4E-BFEC-D0A3-63925C0C10D1}"/>
                </a:ext>
              </a:extLst>
            </p:cNvPr>
            <p:cNvSpPr/>
            <p:nvPr/>
          </p:nvSpPr>
          <p:spPr>
            <a:xfrm>
              <a:off x="9327597" y="159786"/>
              <a:ext cx="2179876"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ntropogēn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1CB118B0-4EEF-0AEA-44CF-CABD1FC0D4E3}"/>
                </a:ext>
              </a:extLst>
            </p:cNvPr>
            <p:cNvSpPr/>
            <p:nvPr/>
          </p:nvSpPr>
          <p:spPr>
            <a:xfrm>
              <a:off x="9085983"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3C93BFC4-185C-9F45-089B-AE525FC9BDCE}"/>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61DD760C-3C36-0A0C-4D28-9E240CAC8D76}"/>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7395985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8793B610-11BB-3DD5-343E-D5A1842E54DF}"/>
              </a:ext>
            </a:extLst>
          </p:cNvPr>
          <p:cNvSpPr/>
          <p:nvPr/>
        </p:nvSpPr>
        <p:spPr>
          <a:xfrm>
            <a:off x="1100557" y="3053965"/>
            <a:ext cx="4814475"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Ja tomēr jāpaliek ārā – nelietojiet dzērienus, pārtikas produktus un nesmēķējiet.</a:t>
            </a:r>
          </a:p>
        </p:txBody>
      </p:sp>
      <p:sp>
        <p:nvSpPr>
          <p:cNvPr id="68" name="Rectangle 67">
            <a:extLst>
              <a:ext uri="{FF2B5EF4-FFF2-40B4-BE49-F238E27FC236}">
                <a16:creationId xmlns:a16="http://schemas.microsoft.com/office/drawing/2014/main" id="{DC58C25F-8110-0C29-4A50-5DADA78B621C}"/>
              </a:ext>
            </a:extLst>
          </p:cNvPr>
          <p:cNvSpPr/>
          <p:nvPr/>
        </p:nvSpPr>
        <p:spPr>
          <a:xfrm>
            <a:off x="442914" y="1819275"/>
            <a:ext cx="1130356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 atrodaties ārpus telpām:</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Radiācijas</a:t>
            </a:r>
            <a:r>
              <a:rPr lang="en-GB"/>
              <a:t> </a:t>
            </a:r>
            <a:r>
              <a:rPr lang="en-GB" err="1"/>
              <a:t>avārijas</a:t>
            </a:r>
            <a:br>
              <a:rPr lang="en-GB"/>
            </a:br>
            <a:r>
              <a:rPr lang="en-GB" err="1">
                <a:solidFill>
                  <a:srgbClr val="A8192D"/>
                </a:solidFill>
              </a:rPr>
              <a:t>Kā</a:t>
            </a:r>
            <a:r>
              <a:rPr lang="en-GB">
                <a:solidFill>
                  <a:srgbClr val="A8192D"/>
                </a:solidFill>
              </a:rPr>
              <a:t> </a:t>
            </a:r>
            <a:r>
              <a:rPr lang="en-GB" err="1">
                <a:solidFill>
                  <a:srgbClr val="A8192D"/>
                </a:solidFill>
              </a:rPr>
              <a:t>rīkoties</a:t>
            </a:r>
            <a:r>
              <a:rPr lang="en-GB">
                <a:solidFill>
                  <a:srgbClr val="A8192D"/>
                </a:solidFill>
              </a:rPr>
              <a:t>? (3/4)</a:t>
            </a:r>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6</a:t>
            </a:fld>
            <a:endParaRPr lang="en-GB"/>
          </a:p>
        </p:txBody>
      </p:sp>
      <p:sp>
        <p:nvSpPr>
          <p:cNvPr id="33" name="Rectangle 32">
            <a:extLst>
              <a:ext uri="{FF2B5EF4-FFF2-40B4-BE49-F238E27FC236}">
                <a16:creationId xmlns:a16="http://schemas.microsoft.com/office/drawing/2014/main" id="{A9EA678B-1C92-D1EC-5EF2-97D0A4907E68}"/>
              </a:ext>
            </a:extLst>
          </p:cNvPr>
          <p:cNvSpPr/>
          <p:nvPr/>
        </p:nvSpPr>
        <p:spPr>
          <a:xfrm>
            <a:off x="1103726" y="3607929"/>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Atcerieties par higiēnu! Izvairieties no saskares ar seju. Ieejot telpās, mazgājiet rokas.</a:t>
            </a:r>
          </a:p>
        </p:txBody>
      </p:sp>
      <p:sp>
        <p:nvSpPr>
          <p:cNvPr id="75" name="Rectangle 74">
            <a:extLst>
              <a:ext uri="{FF2B5EF4-FFF2-40B4-BE49-F238E27FC236}">
                <a16:creationId xmlns:a16="http://schemas.microsoft.com/office/drawing/2014/main" id="{AB24C0B9-0E0F-E3B2-1237-5CBEE719A1F1}"/>
              </a:ext>
            </a:extLst>
          </p:cNvPr>
          <p:cNvSpPr/>
          <p:nvPr/>
        </p:nvSpPr>
        <p:spPr>
          <a:xfrm>
            <a:off x="1103726" y="2538413"/>
            <a:ext cx="4814475"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Dodieties iekšā tuvākajā ēkā.</a:t>
            </a:r>
          </a:p>
        </p:txBody>
      </p:sp>
      <p:sp>
        <p:nvSpPr>
          <p:cNvPr id="77" name="Rectangle 76">
            <a:extLst>
              <a:ext uri="{FF2B5EF4-FFF2-40B4-BE49-F238E27FC236}">
                <a16:creationId xmlns:a16="http://schemas.microsoft.com/office/drawing/2014/main" id="{7507519A-1DE4-B47D-BFBC-5EC74A788B23}"/>
              </a:ext>
            </a:extLst>
          </p:cNvPr>
          <p:cNvSpPr/>
          <p:nvPr/>
        </p:nvSpPr>
        <p:spPr>
          <a:xfrm>
            <a:off x="1099649" y="4675146"/>
            <a:ext cx="48147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Izslēdziet vai noslēdziet ventilācijas sistēmu un gaisa kondicionierus.</a:t>
            </a:r>
          </a:p>
        </p:txBody>
      </p:sp>
      <p:sp>
        <p:nvSpPr>
          <p:cNvPr id="99" name="Rectangle 98">
            <a:extLst>
              <a:ext uri="{FF2B5EF4-FFF2-40B4-BE49-F238E27FC236}">
                <a16:creationId xmlns:a16="http://schemas.microsoft.com/office/drawing/2014/main" id="{805B5EBD-6AAC-3E2E-7379-47BAFD8ABB47}"/>
              </a:ext>
            </a:extLst>
          </p:cNvPr>
          <p:cNvSpPr/>
          <p:nvPr/>
        </p:nvSpPr>
        <p:spPr>
          <a:xfrm>
            <a:off x="1103500" y="4159794"/>
            <a:ext cx="48147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Aizveriet logus un durvis.</a:t>
            </a:r>
          </a:p>
        </p:txBody>
      </p:sp>
      <p:grpSp>
        <p:nvGrpSpPr>
          <p:cNvPr id="110" name="Group 109">
            <a:extLst>
              <a:ext uri="{FF2B5EF4-FFF2-40B4-BE49-F238E27FC236}">
                <a16:creationId xmlns:a16="http://schemas.microsoft.com/office/drawing/2014/main" id="{6CD1AF9A-0F79-0BC6-85AD-5E53AFCEB102}"/>
              </a:ext>
            </a:extLst>
          </p:cNvPr>
          <p:cNvGrpSpPr/>
          <p:nvPr/>
        </p:nvGrpSpPr>
        <p:grpSpPr>
          <a:xfrm>
            <a:off x="442914" y="2538569"/>
            <a:ext cx="576263" cy="432000"/>
            <a:chOff x="442914" y="2538569"/>
            <a:chExt cx="576263" cy="432000"/>
          </a:xfrm>
        </p:grpSpPr>
        <p:sp>
          <p:nvSpPr>
            <p:cNvPr id="5" name="Rectangle 4">
              <a:extLst>
                <a:ext uri="{FF2B5EF4-FFF2-40B4-BE49-F238E27FC236}">
                  <a16:creationId xmlns:a16="http://schemas.microsoft.com/office/drawing/2014/main" id="{9B01BFF2-7C6C-4A11-DDDF-DFEB1E669057}"/>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5C78887E-1D81-C336-D2B1-A3180DF6D42B}"/>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12" name="Rectangle 11">
            <a:extLst>
              <a:ext uri="{FF2B5EF4-FFF2-40B4-BE49-F238E27FC236}">
                <a16:creationId xmlns:a16="http://schemas.microsoft.com/office/drawing/2014/main" id="{6C159E5C-6825-65ED-B20E-2427062C845D}"/>
              </a:ext>
            </a:extLst>
          </p:cNvPr>
          <p:cNvSpPr/>
          <p:nvPr/>
        </p:nvSpPr>
        <p:spPr>
          <a:xfrm>
            <a:off x="1103913" y="5190498"/>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Aiztaisiet ar līmlenti, plēvi vai alumīnija foliju atveres </a:t>
            </a:r>
            <a:r>
              <a:rPr lang="lv-LV" sz="1200" b="0" i="0" err="1">
                <a:solidFill>
                  <a:schemeClr val="tx1"/>
                </a:solidFill>
                <a:effectLst/>
              </a:rPr>
              <a:t>nosūces</a:t>
            </a:r>
            <a:r>
              <a:rPr lang="lv-LV" sz="1200" b="0" i="0">
                <a:solidFill>
                  <a:schemeClr val="tx1"/>
                </a:solidFill>
                <a:effectLst/>
              </a:rPr>
              <a:t> mehānismiem virtuvē, vannas istabā un citās telpās.</a:t>
            </a:r>
          </a:p>
        </p:txBody>
      </p:sp>
      <p:cxnSp>
        <p:nvCxnSpPr>
          <p:cNvPr id="13" name="Straight Connector 12">
            <a:extLst>
              <a:ext uri="{FF2B5EF4-FFF2-40B4-BE49-F238E27FC236}">
                <a16:creationId xmlns:a16="http://schemas.microsoft.com/office/drawing/2014/main" id="{57E638E7-D0A4-5E2D-AACB-B8C40DD06519}"/>
              </a:ext>
            </a:extLst>
          </p:cNvPr>
          <p:cNvCxnSpPr>
            <a:cxnSpLocks/>
          </p:cNvCxnSpPr>
          <p:nvPr/>
        </p:nvCxnSpPr>
        <p:spPr>
          <a:xfrm>
            <a:off x="1103313" y="3010262"/>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D5F3E7D7-11B3-9912-9E28-D800635741FC}"/>
              </a:ext>
            </a:extLst>
          </p:cNvPr>
          <p:cNvCxnSpPr>
            <a:cxnSpLocks/>
          </p:cNvCxnSpPr>
          <p:nvPr/>
        </p:nvCxnSpPr>
        <p:spPr>
          <a:xfrm>
            <a:off x="1103313" y="3562127"/>
            <a:ext cx="481488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0B98F0A9-A0F5-94E3-A94F-1CD87810FB99}"/>
              </a:ext>
            </a:extLst>
          </p:cNvPr>
          <p:cNvCxnSpPr>
            <a:cxnSpLocks/>
          </p:cNvCxnSpPr>
          <p:nvPr/>
        </p:nvCxnSpPr>
        <p:spPr>
          <a:xfrm>
            <a:off x="1103726" y="5146795"/>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7" name="Straight Connector 26">
            <a:extLst>
              <a:ext uri="{FF2B5EF4-FFF2-40B4-BE49-F238E27FC236}">
                <a16:creationId xmlns:a16="http://schemas.microsoft.com/office/drawing/2014/main" id="{5FE1F1BA-74EB-89F7-7A1C-E75D518CD996}"/>
              </a:ext>
            </a:extLst>
          </p:cNvPr>
          <p:cNvCxnSpPr>
            <a:cxnSpLocks/>
          </p:cNvCxnSpPr>
          <p:nvPr/>
        </p:nvCxnSpPr>
        <p:spPr>
          <a:xfrm>
            <a:off x="1103726" y="4631443"/>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8" name="Straight Connector 27">
            <a:extLst>
              <a:ext uri="{FF2B5EF4-FFF2-40B4-BE49-F238E27FC236}">
                <a16:creationId xmlns:a16="http://schemas.microsoft.com/office/drawing/2014/main" id="{CA568E8B-8B6F-B25E-3CB3-5A3C3D31C90A}"/>
              </a:ext>
            </a:extLst>
          </p:cNvPr>
          <p:cNvCxnSpPr>
            <a:cxnSpLocks/>
          </p:cNvCxnSpPr>
          <p:nvPr/>
        </p:nvCxnSpPr>
        <p:spPr>
          <a:xfrm>
            <a:off x="1103726" y="4116091"/>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0" name="TextBox 9">
            <a:extLst>
              <a:ext uri="{FF2B5EF4-FFF2-40B4-BE49-F238E27FC236}">
                <a16:creationId xmlns:a16="http://schemas.microsoft.com/office/drawing/2014/main" id="{7144CF5C-EB38-5E76-4FA4-1F678E79C166}"/>
              </a:ext>
            </a:extLst>
          </p:cNvPr>
          <p:cNvSpPr txBox="1"/>
          <p:nvPr/>
        </p:nvSpPr>
        <p:spPr>
          <a:xfrm>
            <a:off x="406336" y="1468020"/>
            <a:ext cx="12042378" cy="338554"/>
          </a:xfrm>
          <a:prstGeom prst="rect">
            <a:avLst/>
          </a:prstGeom>
          <a:noFill/>
        </p:spPr>
        <p:txBody>
          <a:bodyPr wrap="square">
            <a:spAutoFit/>
          </a:bodyPr>
          <a:lstStyle/>
          <a:p>
            <a:r>
              <a:rPr lang="lv-LV" sz="1600" b="1">
                <a:solidFill>
                  <a:srgbClr val="A8192D"/>
                </a:solidFill>
              </a:rPr>
              <a:t>Kā rīkoties, ja notikusi radioaktīvo vielu noplūde Latvijā?</a:t>
            </a:r>
          </a:p>
        </p:txBody>
      </p:sp>
      <p:grpSp>
        <p:nvGrpSpPr>
          <p:cNvPr id="51" name="Group 50">
            <a:extLst>
              <a:ext uri="{FF2B5EF4-FFF2-40B4-BE49-F238E27FC236}">
                <a16:creationId xmlns:a16="http://schemas.microsoft.com/office/drawing/2014/main" id="{02714D5C-394C-FA7A-89BD-D6C3E6DDE799}"/>
              </a:ext>
            </a:extLst>
          </p:cNvPr>
          <p:cNvGrpSpPr/>
          <p:nvPr/>
        </p:nvGrpSpPr>
        <p:grpSpPr>
          <a:xfrm>
            <a:off x="443327" y="5190394"/>
            <a:ext cx="576263" cy="468000"/>
            <a:chOff x="442913" y="2538569"/>
            <a:chExt cx="576263" cy="468000"/>
          </a:xfrm>
        </p:grpSpPr>
        <p:sp>
          <p:nvSpPr>
            <p:cNvPr id="57" name="Rectangle 56">
              <a:extLst>
                <a:ext uri="{FF2B5EF4-FFF2-40B4-BE49-F238E27FC236}">
                  <a16:creationId xmlns:a16="http://schemas.microsoft.com/office/drawing/2014/main" id="{F52AF210-997F-37CC-6525-8A2DA6E5CB9E}"/>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03E6C29C-5E5B-F27A-AD19-028D2CE8047B}"/>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9" name="Group 58">
            <a:extLst>
              <a:ext uri="{FF2B5EF4-FFF2-40B4-BE49-F238E27FC236}">
                <a16:creationId xmlns:a16="http://schemas.microsoft.com/office/drawing/2014/main" id="{21C10D3A-31A3-75AC-4BA4-5CB8D48B965F}"/>
              </a:ext>
            </a:extLst>
          </p:cNvPr>
          <p:cNvGrpSpPr/>
          <p:nvPr/>
        </p:nvGrpSpPr>
        <p:grpSpPr>
          <a:xfrm>
            <a:off x="443327" y="3606499"/>
            <a:ext cx="576263" cy="468000"/>
            <a:chOff x="442913" y="2538569"/>
            <a:chExt cx="576263" cy="468000"/>
          </a:xfrm>
        </p:grpSpPr>
        <p:sp>
          <p:nvSpPr>
            <p:cNvPr id="60" name="Rectangle 59">
              <a:extLst>
                <a:ext uri="{FF2B5EF4-FFF2-40B4-BE49-F238E27FC236}">
                  <a16:creationId xmlns:a16="http://schemas.microsoft.com/office/drawing/2014/main" id="{32DCC19A-D25C-C9C8-B19B-F5B99F0B4EB7}"/>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1" name="L-Shape 60">
              <a:extLst>
                <a:ext uri="{FF2B5EF4-FFF2-40B4-BE49-F238E27FC236}">
                  <a16:creationId xmlns:a16="http://schemas.microsoft.com/office/drawing/2014/main" id="{7DAD89AC-6F76-4E91-9850-4775FEAD5282}"/>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62" name="Group 61">
            <a:extLst>
              <a:ext uri="{FF2B5EF4-FFF2-40B4-BE49-F238E27FC236}">
                <a16:creationId xmlns:a16="http://schemas.microsoft.com/office/drawing/2014/main" id="{15798646-B909-135F-7236-4AA72E451288}"/>
              </a:ext>
            </a:extLst>
          </p:cNvPr>
          <p:cNvGrpSpPr/>
          <p:nvPr/>
        </p:nvGrpSpPr>
        <p:grpSpPr>
          <a:xfrm>
            <a:off x="443327" y="3054534"/>
            <a:ext cx="576263" cy="468000"/>
            <a:chOff x="442913" y="2538569"/>
            <a:chExt cx="576263" cy="468000"/>
          </a:xfrm>
        </p:grpSpPr>
        <p:sp>
          <p:nvSpPr>
            <p:cNvPr id="63" name="Rectangle 62">
              <a:extLst>
                <a:ext uri="{FF2B5EF4-FFF2-40B4-BE49-F238E27FC236}">
                  <a16:creationId xmlns:a16="http://schemas.microsoft.com/office/drawing/2014/main" id="{D8747A8D-355F-48CB-3975-016B59697FDB}"/>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4" name="L-Shape 63">
              <a:extLst>
                <a:ext uri="{FF2B5EF4-FFF2-40B4-BE49-F238E27FC236}">
                  <a16:creationId xmlns:a16="http://schemas.microsoft.com/office/drawing/2014/main" id="{ED881F96-1176-5FAE-ED84-ED7709F82173}"/>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74" name="Rectangle 73">
            <a:extLst>
              <a:ext uri="{FF2B5EF4-FFF2-40B4-BE49-F238E27FC236}">
                <a16:creationId xmlns:a16="http://schemas.microsoft.com/office/drawing/2014/main" id="{6CF3CB0A-A56C-02D9-4F27-650811AFFCC6}"/>
              </a:ext>
            </a:extLst>
          </p:cNvPr>
          <p:cNvSpPr/>
          <p:nvPr/>
        </p:nvSpPr>
        <p:spPr>
          <a:xfrm>
            <a:off x="6936200" y="3106694"/>
            <a:ext cx="4814475" cy="72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Ja nav iespējams nodrošināt apģērba maiņu vai iespēju nodrošināt mazgāšanos, piemēram, nav iespējas atgriezties dzīvesvietā, tad atbrīvojieties no virsējās apģērbu kārtas un novietojiet tādā vietā, kur neatrodas cilvēki.</a:t>
            </a:r>
          </a:p>
        </p:txBody>
      </p:sp>
      <p:sp>
        <p:nvSpPr>
          <p:cNvPr id="78" name="Rectangle 77">
            <a:extLst>
              <a:ext uri="{FF2B5EF4-FFF2-40B4-BE49-F238E27FC236}">
                <a16:creationId xmlns:a16="http://schemas.microsoft.com/office/drawing/2014/main" id="{BEE6A379-E20D-006F-272E-4243851DCD95}"/>
              </a:ext>
            </a:extLst>
          </p:cNvPr>
          <p:cNvSpPr/>
          <p:nvPr/>
        </p:nvSpPr>
        <p:spPr>
          <a:xfrm>
            <a:off x="6935974" y="3928605"/>
            <a:ext cx="4814701" cy="576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iespējams, rūpīgi nomazgājieties dušā ar lielu daudzumu remdena ūdens. Ja iespējams, lietojiet mazgāšanās līdzekļus. Centieties nesavainot ādu.</a:t>
            </a:r>
          </a:p>
        </p:txBody>
      </p:sp>
      <p:sp>
        <p:nvSpPr>
          <p:cNvPr id="79" name="Rectangle 78">
            <a:extLst>
              <a:ext uri="{FF2B5EF4-FFF2-40B4-BE49-F238E27FC236}">
                <a16:creationId xmlns:a16="http://schemas.microsoft.com/office/drawing/2014/main" id="{919D34C6-1F0F-4D91-CF9A-51B5D8E17633}"/>
              </a:ext>
            </a:extLst>
          </p:cNvPr>
          <p:cNvSpPr/>
          <p:nvPr/>
        </p:nvSpPr>
        <p:spPr>
          <a:xfrm>
            <a:off x="6936200" y="2538569"/>
            <a:ext cx="4814475"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iespējams, novelciet drēbes, ielieciet tās polietilēna maisiņā un to noslēdziet.</a:t>
            </a:r>
          </a:p>
        </p:txBody>
      </p:sp>
      <p:sp>
        <p:nvSpPr>
          <p:cNvPr id="80" name="Rectangle 79">
            <a:extLst>
              <a:ext uri="{FF2B5EF4-FFF2-40B4-BE49-F238E27FC236}">
                <a16:creationId xmlns:a16="http://schemas.microsoft.com/office/drawing/2014/main" id="{319DB5E8-2E74-E25C-33E3-9C94F275A923}"/>
              </a:ext>
            </a:extLst>
          </p:cNvPr>
          <p:cNvSpPr/>
          <p:nvPr/>
        </p:nvSpPr>
        <p:spPr>
          <a:xfrm>
            <a:off x="6935974" y="5172542"/>
            <a:ext cx="4814701"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Izskalojiet mutes dobumu ar tīru ūdeni.</a:t>
            </a:r>
          </a:p>
        </p:txBody>
      </p:sp>
      <p:sp>
        <p:nvSpPr>
          <p:cNvPr id="81" name="Rectangle 80">
            <a:extLst>
              <a:ext uri="{FF2B5EF4-FFF2-40B4-BE49-F238E27FC236}">
                <a16:creationId xmlns:a16="http://schemas.microsoft.com/office/drawing/2014/main" id="{FA8813D8-2CC1-1911-1C11-B45C11D28077}"/>
              </a:ext>
            </a:extLst>
          </p:cNvPr>
          <p:cNvSpPr/>
          <p:nvPr/>
        </p:nvSpPr>
        <p:spPr>
          <a:xfrm>
            <a:off x="6935974" y="4604417"/>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chemeClr val="tx1"/>
                </a:solidFill>
              </a:rPr>
              <a:t>Ja iespējams, spēcīgi berzējot, izmazgājiet matus un tos rūpīgi izskalojiet. </a:t>
            </a:r>
            <a:r>
              <a:rPr lang="lv-LV" sz="1200" b="1">
                <a:solidFill>
                  <a:srgbClr val="A8192D"/>
                </a:solidFill>
              </a:rPr>
              <a:t>Atcerieties! </a:t>
            </a:r>
            <a:r>
              <a:rPr lang="lv-LV" sz="1200">
                <a:solidFill>
                  <a:srgbClr val="A8192D"/>
                </a:solidFill>
              </a:rPr>
              <a:t>Nelietojiet kondicionieri.</a:t>
            </a:r>
          </a:p>
        </p:txBody>
      </p:sp>
      <p:grpSp>
        <p:nvGrpSpPr>
          <p:cNvPr id="82" name="Group 81">
            <a:extLst>
              <a:ext uri="{FF2B5EF4-FFF2-40B4-BE49-F238E27FC236}">
                <a16:creationId xmlns:a16="http://schemas.microsoft.com/office/drawing/2014/main" id="{12D98A13-3903-52FE-FE40-C8C772EEFA3F}"/>
              </a:ext>
            </a:extLst>
          </p:cNvPr>
          <p:cNvGrpSpPr/>
          <p:nvPr/>
        </p:nvGrpSpPr>
        <p:grpSpPr>
          <a:xfrm>
            <a:off x="6275388" y="2538725"/>
            <a:ext cx="576263" cy="468000"/>
            <a:chOff x="442913" y="2538569"/>
            <a:chExt cx="576263" cy="468000"/>
          </a:xfrm>
        </p:grpSpPr>
        <p:sp>
          <p:nvSpPr>
            <p:cNvPr id="83" name="Rectangle 82">
              <a:extLst>
                <a:ext uri="{FF2B5EF4-FFF2-40B4-BE49-F238E27FC236}">
                  <a16:creationId xmlns:a16="http://schemas.microsoft.com/office/drawing/2014/main" id="{1D999110-5029-8414-8058-62CD4AB61D6A}"/>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43CCB661-1AEB-8106-B311-3D09DE534D93}"/>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85" name="Rectangle 84">
            <a:extLst>
              <a:ext uri="{FF2B5EF4-FFF2-40B4-BE49-F238E27FC236}">
                <a16:creationId xmlns:a16="http://schemas.microsoft.com/office/drawing/2014/main" id="{359FC1C1-574C-DFF4-B7A5-487546BBBFA1}"/>
              </a:ext>
            </a:extLst>
          </p:cNvPr>
          <p:cNvSpPr/>
          <p:nvPr/>
        </p:nvSpPr>
        <p:spPr>
          <a:xfrm>
            <a:off x="6935974" y="5704356"/>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Mazgāšanos atkārto divas līdz trīs reizes. Izvairieties no mazgāšanās līdzekļu putu iekļūšanas acīs un mutē.</a:t>
            </a:r>
          </a:p>
        </p:txBody>
      </p:sp>
      <p:cxnSp>
        <p:nvCxnSpPr>
          <p:cNvPr id="86" name="Straight Connector 85">
            <a:extLst>
              <a:ext uri="{FF2B5EF4-FFF2-40B4-BE49-F238E27FC236}">
                <a16:creationId xmlns:a16="http://schemas.microsoft.com/office/drawing/2014/main" id="{5B489D4A-1DD1-8C9C-6177-EAFA7EDA7169}"/>
              </a:ext>
            </a:extLst>
          </p:cNvPr>
          <p:cNvCxnSpPr>
            <a:cxnSpLocks/>
          </p:cNvCxnSpPr>
          <p:nvPr/>
        </p:nvCxnSpPr>
        <p:spPr>
          <a:xfrm>
            <a:off x="6935787" y="3054861"/>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7" name="Straight Connector 86">
            <a:extLst>
              <a:ext uri="{FF2B5EF4-FFF2-40B4-BE49-F238E27FC236}">
                <a16:creationId xmlns:a16="http://schemas.microsoft.com/office/drawing/2014/main" id="{A32D7C2A-C0E2-91D3-B4C4-F759BE111FAD}"/>
              </a:ext>
            </a:extLst>
          </p:cNvPr>
          <p:cNvCxnSpPr>
            <a:cxnSpLocks/>
          </p:cNvCxnSpPr>
          <p:nvPr/>
        </p:nvCxnSpPr>
        <p:spPr>
          <a:xfrm>
            <a:off x="6935787" y="3874673"/>
            <a:ext cx="481488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8" name="Straight Connector 87">
            <a:extLst>
              <a:ext uri="{FF2B5EF4-FFF2-40B4-BE49-F238E27FC236}">
                <a16:creationId xmlns:a16="http://schemas.microsoft.com/office/drawing/2014/main" id="{5B57EB0D-8F44-D739-CFBB-2FEFB96C379E}"/>
              </a:ext>
            </a:extLst>
          </p:cNvPr>
          <p:cNvCxnSpPr>
            <a:cxnSpLocks/>
          </p:cNvCxnSpPr>
          <p:nvPr/>
        </p:nvCxnSpPr>
        <p:spPr>
          <a:xfrm>
            <a:off x="6935787" y="5652521"/>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9" name="Straight Connector 88">
            <a:extLst>
              <a:ext uri="{FF2B5EF4-FFF2-40B4-BE49-F238E27FC236}">
                <a16:creationId xmlns:a16="http://schemas.microsoft.com/office/drawing/2014/main" id="{54862E64-08FA-AC94-0D12-BF6B60ADECEA}"/>
              </a:ext>
            </a:extLst>
          </p:cNvPr>
          <p:cNvCxnSpPr>
            <a:cxnSpLocks/>
          </p:cNvCxnSpPr>
          <p:nvPr/>
        </p:nvCxnSpPr>
        <p:spPr>
          <a:xfrm>
            <a:off x="6935787" y="5120709"/>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 name="Straight Connector 89">
            <a:extLst>
              <a:ext uri="{FF2B5EF4-FFF2-40B4-BE49-F238E27FC236}">
                <a16:creationId xmlns:a16="http://schemas.microsoft.com/office/drawing/2014/main" id="{E1FFA91B-0117-7FD5-772C-8F1703FF4CCB}"/>
              </a:ext>
            </a:extLst>
          </p:cNvPr>
          <p:cNvCxnSpPr>
            <a:cxnSpLocks/>
          </p:cNvCxnSpPr>
          <p:nvPr/>
        </p:nvCxnSpPr>
        <p:spPr>
          <a:xfrm>
            <a:off x="6935787" y="4552584"/>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91" name="Group 90">
            <a:extLst>
              <a:ext uri="{FF2B5EF4-FFF2-40B4-BE49-F238E27FC236}">
                <a16:creationId xmlns:a16="http://schemas.microsoft.com/office/drawing/2014/main" id="{E13CB5FC-C102-F4DE-DA18-7ED00AD94C13}"/>
              </a:ext>
            </a:extLst>
          </p:cNvPr>
          <p:cNvGrpSpPr/>
          <p:nvPr/>
        </p:nvGrpSpPr>
        <p:grpSpPr>
          <a:xfrm>
            <a:off x="6275388" y="5704356"/>
            <a:ext cx="576263" cy="468000"/>
            <a:chOff x="442913" y="2538569"/>
            <a:chExt cx="576263" cy="468000"/>
          </a:xfrm>
        </p:grpSpPr>
        <p:sp>
          <p:nvSpPr>
            <p:cNvPr id="92" name="Rectangle 91">
              <a:extLst>
                <a:ext uri="{FF2B5EF4-FFF2-40B4-BE49-F238E27FC236}">
                  <a16:creationId xmlns:a16="http://schemas.microsoft.com/office/drawing/2014/main" id="{4AAB96CA-4CAC-BFBB-566F-86B680BB2F9B}"/>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3" name="L-Shape 92">
              <a:extLst>
                <a:ext uri="{FF2B5EF4-FFF2-40B4-BE49-F238E27FC236}">
                  <a16:creationId xmlns:a16="http://schemas.microsoft.com/office/drawing/2014/main" id="{6AA8BC93-3AFB-DF04-114A-8397DB0D9A63}"/>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08" name="Group 107">
            <a:extLst>
              <a:ext uri="{FF2B5EF4-FFF2-40B4-BE49-F238E27FC236}">
                <a16:creationId xmlns:a16="http://schemas.microsoft.com/office/drawing/2014/main" id="{24FDA2AD-6753-C05F-7516-CE3E2AACF8BC}"/>
              </a:ext>
            </a:extLst>
          </p:cNvPr>
          <p:cNvGrpSpPr/>
          <p:nvPr/>
        </p:nvGrpSpPr>
        <p:grpSpPr>
          <a:xfrm>
            <a:off x="6275388" y="3939522"/>
            <a:ext cx="576263" cy="544661"/>
            <a:chOff x="6275388" y="3959943"/>
            <a:chExt cx="576263" cy="544661"/>
          </a:xfrm>
        </p:grpSpPr>
        <p:sp>
          <p:nvSpPr>
            <p:cNvPr id="95" name="Rectangle 94">
              <a:extLst>
                <a:ext uri="{FF2B5EF4-FFF2-40B4-BE49-F238E27FC236}">
                  <a16:creationId xmlns:a16="http://schemas.microsoft.com/office/drawing/2014/main" id="{A925002E-7F22-BD8E-F902-D19EB74E9023}"/>
                </a:ext>
              </a:extLst>
            </p:cNvPr>
            <p:cNvSpPr/>
            <p:nvPr/>
          </p:nvSpPr>
          <p:spPr>
            <a:xfrm>
              <a:off x="6275388" y="3959943"/>
              <a:ext cx="576263" cy="54466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783B2AF6-C38B-E5F1-B234-A6F78746FE0E}"/>
                </a:ext>
              </a:extLst>
            </p:cNvPr>
            <p:cNvSpPr/>
            <p:nvPr/>
          </p:nvSpPr>
          <p:spPr>
            <a:xfrm rot="13500000">
              <a:off x="6391782" y="40958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09" name="Group 108">
            <a:extLst>
              <a:ext uri="{FF2B5EF4-FFF2-40B4-BE49-F238E27FC236}">
                <a16:creationId xmlns:a16="http://schemas.microsoft.com/office/drawing/2014/main" id="{513022A4-D0F8-CB1D-B01A-37A5F1C62861}"/>
              </a:ext>
            </a:extLst>
          </p:cNvPr>
          <p:cNvGrpSpPr/>
          <p:nvPr/>
        </p:nvGrpSpPr>
        <p:grpSpPr>
          <a:xfrm>
            <a:off x="6275388" y="3101449"/>
            <a:ext cx="576263" cy="743349"/>
            <a:chOff x="6275388" y="3116781"/>
            <a:chExt cx="576263" cy="743349"/>
          </a:xfrm>
        </p:grpSpPr>
        <p:sp>
          <p:nvSpPr>
            <p:cNvPr id="100" name="Rectangle 99">
              <a:extLst>
                <a:ext uri="{FF2B5EF4-FFF2-40B4-BE49-F238E27FC236}">
                  <a16:creationId xmlns:a16="http://schemas.microsoft.com/office/drawing/2014/main" id="{E5E7320D-A26B-1295-E6B3-5CA5A9A33174}"/>
                </a:ext>
              </a:extLst>
            </p:cNvPr>
            <p:cNvSpPr/>
            <p:nvPr/>
          </p:nvSpPr>
          <p:spPr>
            <a:xfrm>
              <a:off x="6275388" y="3116781"/>
              <a:ext cx="576263" cy="74334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1" name="L-Shape 100">
              <a:extLst>
                <a:ext uri="{FF2B5EF4-FFF2-40B4-BE49-F238E27FC236}">
                  <a16:creationId xmlns:a16="http://schemas.microsoft.com/office/drawing/2014/main" id="{D0A7602C-92E5-C633-CE9C-1F05C5F0CB8C}"/>
                </a:ext>
              </a:extLst>
            </p:cNvPr>
            <p:cNvSpPr/>
            <p:nvPr/>
          </p:nvSpPr>
          <p:spPr>
            <a:xfrm rot="13500000">
              <a:off x="6391782" y="33520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02" name="Group 101">
            <a:extLst>
              <a:ext uri="{FF2B5EF4-FFF2-40B4-BE49-F238E27FC236}">
                <a16:creationId xmlns:a16="http://schemas.microsoft.com/office/drawing/2014/main" id="{45B001D9-78A0-9CDE-C9A2-B18E9E695C8A}"/>
              </a:ext>
            </a:extLst>
          </p:cNvPr>
          <p:cNvGrpSpPr/>
          <p:nvPr/>
        </p:nvGrpSpPr>
        <p:grpSpPr>
          <a:xfrm>
            <a:off x="6275388" y="4578907"/>
            <a:ext cx="576263" cy="468000"/>
            <a:chOff x="442913" y="2538569"/>
            <a:chExt cx="576263" cy="468000"/>
          </a:xfrm>
        </p:grpSpPr>
        <p:sp>
          <p:nvSpPr>
            <p:cNvPr id="103" name="Rectangle 102">
              <a:extLst>
                <a:ext uri="{FF2B5EF4-FFF2-40B4-BE49-F238E27FC236}">
                  <a16:creationId xmlns:a16="http://schemas.microsoft.com/office/drawing/2014/main" id="{E1CA6FA3-643F-03FF-5A2C-1166327064E2}"/>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4" name="L-Shape 103">
              <a:extLst>
                <a:ext uri="{FF2B5EF4-FFF2-40B4-BE49-F238E27FC236}">
                  <a16:creationId xmlns:a16="http://schemas.microsoft.com/office/drawing/2014/main" id="{FBD7C1A8-74BF-4B82-F5BD-D44011AB43DB}"/>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05" name="Group 104">
            <a:extLst>
              <a:ext uri="{FF2B5EF4-FFF2-40B4-BE49-F238E27FC236}">
                <a16:creationId xmlns:a16="http://schemas.microsoft.com/office/drawing/2014/main" id="{A7B5C9A3-D5D4-3D01-BB0C-DA7FADE7E0A1}"/>
              </a:ext>
            </a:extLst>
          </p:cNvPr>
          <p:cNvGrpSpPr/>
          <p:nvPr/>
        </p:nvGrpSpPr>
        <p:grpSpPr>
          <a:xfrm>
            <a:off x="6275388" y="5141631"/>
            <a:ext cx="576263" cy="468000"/>
            <a:chOff x="442913" y="2538569"/>
            <a:chExt cx="576263" cy="468000"/>
          </a:xfrm>
        </p:grpSpPr>
        <p:sp>
          <p:nvSpPr>
            <p:cNvPr id="106" name="Rectangle 105">
              <a:extLst>
                <a:ext uri="{FF2B5EF4-FFF2-40B4-BE49-F238E27FC236}">
                  <a16:creationId xmlns:a16="http://schemas.microsoft.com/office/drawing/2014/main" id="{013A8535-76B6-2C53-E508-279E6D38C057}"/>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7" name="L-Shape 106">
              <a:extLst>
                <a:ext uri="{FF2B5EF4-FFF2-40B4-BE49-F238E27FC236}">
                  <a16:creationId xmlns:a16="http://schemas.microsoft.com/office/drawing/2014/main" id="{4EB2EB83-B135-2FA0-8A7B-BFC57B958DB9}"/>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11" name="Group 110">
            <a:extLst>
              <a:ext uri="{FF2B5EF4-FFF2-40B4-BE49-F238E27FC236}">
                <a16:creationId xmlns:a16="http://schemas.microsoft.com/office/drawing/2014/main" id="{502ED91A-4C9B-FD70-159D-1CCBD4338C97}"/>
              </a:ext>
            </a:extLst>
          </p:cNvPr>
          <p:cNvGrpSpPr/>
          <p:nvPr/>
        </p:nvGrpSpPr>
        <p:grpSpPr>
          <a:xfrm>
            <a:off x="443327" y="4158464"/>
            <a:ext cx="576263" cy="432000"/>
            <a:chOff x="442914" y="2538569"/>
            <a:chExt cx="576263" cy="432000"/>
          </a:xfrm>
        </p:grpSpPr>
        <p:sp>
          <p:nvSpPr>
            <p:cNvPr id="112" name="Rectangle 111">
              <a:extLst>
                <a:ext uri="{FF2B5EF4-FFF2-40B4-BE49-F238E27FC236}">
                  <a16:creationId xmlns:a16="http://schemas.microsoft.com/office/drawing/2014/main" id="{E31BA883-F6BD-B3BC-8CBF-7ADFC7E93CFB}"/>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3" name="L-Shape 112">
              <a:extLst>
                <a:ext uri="{FF2B5EF4-FFF2-40B4-BE49-F238E27FC236}">
                  <a16:creationId xmlns:a16="http://schemas.microsoft.com/office/drawing/2014/main" id="{1AE30C01-BF17-8CC0-F5FC-C21F6338C414}"/>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14" name="Group 113">
            <a:extLst>
              <a:ext uri="{FF2B5EF4-FFF2-40B4-BE49-F238E27FC236}">
                <a16:creationId xmlns:a16="http://schemas.microsoft.com/office/drawing/2014/main" id="{8B8173BE-C28A-0898-DF16-FC9A47CF51C4}"/>
              </a:ext>
            </a:extLst>
          </p:cNvPr>
          <p:cNvGrpSpPr/>
          <p:nvPr/>
        </p:nvGrpSpPr>
        <p:grpSpPr>
          <a:xfrm>
            <a:off x="443327" y="4674429"/>
            <a:ext cx="576263" cy="432000"/>
            <a:chOff x="442914" y="2538569"/>
            <a:chExt cx="576263" cy="432000"/>
          </a:xfrm>
        </p:grpSpPr>
        <p:sp>
          <p:nvSpPr>
            <p:cNvPr id="115" name="Rectangle 114">
              <a:extLst>
                <a:ext uri="{FF2B5EF4-FFF2-40B4-BE49-F238E27FC236}">
                  <a16:creationId xmlns:a16="http://schemas.microsoft.com/office/drawing/2014/main" id="{7857A1FC-03F4-98E4-851B-52289A146349}"/>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6" name="L-Shape 115">
              <a:extLst>
                <a:ext uri="{FF2B5EF4-FFF2-40B4-BE49-F238E27FC236}">
                  <a16:creationId xmlns:a16="http://schemas.microsoft.com/office/drawing/2014/main" id="{97FE68AC-A0D2-B92B-1D22-0E4624791084}"/>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117" name="Straight Connector 116">
            <a:extLst>
              <a:ext uri="{FF2B5EF4-FFF2-40B4-BE49-F238E27FC236}">
                <a16:creationId xmlns:a16="http://schemas.microsoft.com/office/drawing/2014/main" id="{4E962165-1BF1-CAC2-12C8-B773E68BF629}"/>
              </a:ext>
            </a:extLst>
          </p:cNvPr>
          <p:cNvCxnSpPr>
            <a:cxnSpLocks/>
          </p:cNvCxnSpPr>
          <p:nvPr/>
        </p:nvCxnSpPr>
        <p:spPr>
          <a:xfrm>
            <a:off x="1103913" y="5698660"/>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18" name="Rectangle 117">
            <a:extLst>
              <a:ext uri="{FF2B5EF4-FFF2-40B4-BE49-F238E27FC236}">
                <a16:creationId xmlns:a16="http://schemas.microsoft.com/office/drawing/2014/main" id="{F391AE34-26B2-E068-5C23-D096ADFFE23C}"/>
              </a:ext>
            </a:extLst>
          </p:cNvPr>
          <p:cNvSpPr/>
          <p:nvPr/>
        </p:nvSpPr>
        <p:spPr>
          <a:xfrm>
            <a:off x="1104100" y="5742362"/>
            <a:ext cx="48147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a:solidFill>
                  <a:srgbClr val="212529"/>
                </a:solidFill>
              </a:rPr>
              <a:t>Sekojiet līdzi atbildīgo iestāžu informācijai par iespējamo apdraudējumu un aizsardzības pasākumiem.</a:t>
            </a:r>
          </a:p>
        </p:txBody>
      </p:sp>
      <p:grpSp>
        <p:nvGrpSpPr>
          <p:cNvPr id="119" name="Group 118">
            <a:extLst>
              <a:ext uri="{FF2B5EF4-FFF2-40B4-BE49-F238E27FC236}">
                <a16:creationId xmlns:a16="http://schemas.microsoft.com/office/drawing/2014/main" id="{F9F2FF3C-4E6B-3063-FA73-7E5277467C20}"/>
              </a:ext>
            </a:extLst>
          </p:cNvPr>
          <p:cNvGrpSpPr/>
          <p:nvPr/>
        </p:nvGrpSpPr>
        <p:grpSpPr>
          <a:xfrm>
            <a:off x="443327" y="5742362"/>
            <a:ext cx="576263" cy="432000"/>
            <a:chOff x="442914" y="2538569"/>
            <a:chExt cx="576263" cy="432000"/>
          </a:xfrm>
        </p:grpSpPr>
        <p:sp>
          <p:nvSpPr>
            <p:cNvPr id="120" name="Rectangle 119">
              <a:extLst>
                <a:ext uri="{FF2B5EF4-FFF2-40B4-BE49-F238E27FC236}">
                  <a16:creationId xmlns:a16="http://schemas.microsoft.com/office/drawing/2014/main" id="{C693585A-A05A-6EBA-28D9-15BC02A40C13}"/>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24" name="L-Shape 123">
              <a:extLst>
                <a:ext uri="{FF2B5EF4-FFF2-40B4-BE49-F238E27FC236}">
                  <a16:creationId xmlns:a16="http://schemas.microsoft.com/office/drawing/2014/main" id="{6C7EEEC5-045F-2484-BECE-7A0F21D408BE}"/>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 name="Group 2">
            <a:extLst>
              <a:ext uri="{FF2B5EF4-FFF2-40B4-BE49-F238E27FC236}">
                <a16:creationId xmlns:a16="http://schemas.microsoft.com/office/drawing/2014/main" id="{85BF6AB1-4D19-BE85-AC20-D089B390677F}"/>
              </a:ext>
            </a:extLst>
          </p:cNvPr>
          <p:cNvGrpSpPr/>
          <p:nvPr/>
        </p:nvGrpSpPr>
        <p:grpSpPr>
          <a:xfrm>
            <a:off x="8844369" y="159786"/>
            <a:ext cx="2904719" cy="220267"/>
            <a:chOff x="8844369" y="159786"/>
            <a:chExt cx="2904719" cy="220267"/>
          </a:xfrm>
        </p:grpSpPr>
        <p:sp>
          <p:nvSpPr>
            <p:cNvPr id="4" name="Rectangle 3">
              <a:extLst>
                <a:ext uri="{FF2B5EF4-FFF2-40B4-BE49-F238E27FC236}">
                  <a16:creationId xmlns:a16="http://schemas.microsoft.com/office/drawing/2014/main" id="{66E555C9-ACC2-D3E6-3367-6475A2C86015}"/>
                </a:ext>
              </a:extLst>
            </p:cNvPr>
            <p:cNvSpPr/>
            <p:nvPr/>
          </p:nvSpPr>
          <p:spPr>
            <a:xfrm>
              <a:off x="9327597" y="159786"/>
              <a:ext cx="2179876"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ntropogēn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2DD84268-1E48-53AD-0724-F65774534639}"/>
                </a:ext>
              </a:extLst>
            </p:cNvPr>
            <p:cNvSpPr/>
            <p:nvPr/>
          </p:nvSpPr>
          <p:spPr>
            <a:xfrm>
              <a:off x="9085983"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A19A2866-F83D-3546-BA26-48D71911D7E3}"/>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3DA86FEC-4D5D-F088-DB3F-9BC55765B55B}"/>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4838467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110B235-F955-EA3B-FC0E-F99459354174}"/>
              </a:ext>
            </a:extLst>
          </p:cNvPr>
          <p:cNvSpPr/>
          <p:nvPr/>
        </p:nvSpPr>
        <p:spPr>
          <a:xfrm>
            <a:off x="7196940" y="1819275"/>
            <a:ext cx="3904149"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 atrodaties automašīnā:</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Radiācijas avārijas</a:t>
            </a:r>
            <a:br>
              <a:rPr lang="lv-LV"/>
            </a:br>
            <a:r>
              <a:rPr lang="lv-LV">
                <a:solidFill>
                  <a:srgbClr val="A8192D"/>
                </a:solidFill>
              </a:rPr>
              <a:t>Kā rīkoties? (4/4)</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7</a:t>
            </a:fld>
            <a:endParaRPr lang="en-GB"/>
          </a:p>
        </p:txBody>
      </p:sp>
      <p:sp>
        <p:nvSpPr>
          <p:cNvPr id="9" name="Rectangle 8">
            <a:extLst>
              <a:ext uri="{FF2B5EF4-FFF2-40B4-BE49-F238E27FC236}">
                <a16:creationId xmlns:a16="http://schemas.microsoft.com/office/drawing/2014/main" id="{1E6D5DC2-11CC-0E32-FD1E-5E930DBDAF6F}"/>
              </a:ext>
            </a:extLst>
          </p:cNvPr>
          <p:cNvSpPr/>
          <p:nvPr/>
        </p:nvSpPr>
        <p:spPr>
          <a:xfrm>
            <a:off x="442913" y="1819275"/>
            <a:ext cx="5764296"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Ja atrodaties ēkā:</a:t>
            </a:r>
          </a:p>
        </p:txBody>
      </p:sp>
      <p:sp>
        <p:nvSpPr>
          <p:cNvPr id="10" name="Rectangle 9">
            <a:extLst>
              <a:ext uri="{FF2B5EF4-FFF2-40B4-BE49-F238E27FC236}">
                <a16:creationId xmlns:a16="http://schemas.microsoft.com/office/drawing/2014/main" id="{09A66239-710D-C797-94B6-F20E65399ECA}"/>
              </a:ext>
            </a:extLst>
          </p:cNvPr>
          <p:cNvSpPr/>
          <p:nvPr/>
        </p:nvSpPr>
        <p:spPr>
          <a:xfrm>
            <a:off x="1107650" y="2538660"/>
            <a:ext cx="5732101"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Neejiet ārā no ēkas.</a:t>
            </a:r>
          </a:p>
        </p:txBody>
      </p:sp>
      <p:grpSp>
        <p:nvGrpSpPr>
          <p:cNvPr id="42" name="Group 41">
            <a:extLst>
              <a:ext uri="{FF2B5EF4-FFF2-40B4-BE49-F238E27FC236}">
                <a16:creationId xmlns:a16="http://schemas.microsoft.com/office/drawing/2014/main" id="{AEBC2CC2-6479-BC8A-6274-6947F4E36D1B}"/>
              </a:ext>
            </a:extLst>
          </p:cNvPr>
          <p:cNvGrpSpPr/>
          <p:nvPr/>
        </p:nvGrpSpPr>
        <p:grpSpPr>
          <a:xfrm>
            <a:off x="442913" y="2538660"/>
            <a:ext cx="576263" cy="432000"/>
            <a:chOff x="442913" y="2538660"/>
            <a:chExt cx="576263" cy="432000"/>
          </a:xfrm>
        </p:grpSpPr>
        <p:sp>
          <p:nvSpPr>
            <p:cNvPr id="11" name="Rectangle 10">
              <a:extLst>
                <a:ext uri="{FF2B5EF4-FFF2-40B4-BE49-F238E27FC236}">
                  <a16:creationId xmlns:a16="http://schemas.microsoft.com/office/drawing/2014/main" id="{DF44B9F5-A23A-A199-5024-09C0BB98E9FD}"/>
                </a:ext>
              </a:extLst>
            </p:cNvPr>
            <p:cNvSpPr/>
            <p:nvPr/>
          </p:nvSpPr>
          <p:spPr>
            <a:xfrm>
              <a:off x="442913"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L-Shape 12">
              <a:extLst>
                <a:ext uri="{FF2B5EF4-FFF2-40B4-BE49-F238E27FC236}">
                  <a16:creationId xmlns:a16="http://schemas.microsoft.com/office/drawing/2014/main" id="{E00438AE-81BF-47E9-E73D-4727037CE6F2}"/>
                </a:ext>
              </a:extLst>
            </p:cNvPr>
            <p:cNvSpPr/>
            <p:nvPr/>
          </p:nvSpPr>
          <p:spPr>
            <a:xfrm rot="13500000">
              <a:off x="559307"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14" name="Straight Connector 13">
            <a:extLst>
              <a:ext uri="{FF2B5EF4-FFF2-40B4-BE49-F238E27FC236}">
                <a16:creationId xmlns:a16="http://schemas.microsoft.com/office/drawing/2014/main" id="{A736938D-F235-47FD-D36B-86BAEE410CD3}"/>
              </a:ext>
            </a:extLst>
          </p:cNvPr>
          <p:cNvCxnSpPr>
            <a:cxnSpLocks/>
          </p:cNvCxnSpPr>
          <p:nvPr/>
        </p:nvCxnSpPr>
        <p:spPr>
          <a:xfrm>
            <a:off x="1108075" y="4395848"/>
            <a:ext cx="5732463"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341523F5-B6D8-110E-BD6D-466F42BD4636}"/>
              </a:ext>
            </a:extLst>
          </p:cNvPr>
          <p:cNvSpPr/>
          <p:nvPr/>
        </p:nvSpPr>
        <p:spPr>
          <a:xfrm>
            <a:off x="6279208" y="1814194"/>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16" name="Rectangle 15">
            <a:extLst>
              <a:ext uri="{FF2B5EF4-FFF2-40B4-BE49-F238E27FC236}">
                <a16:creationId xmlns:a16="http://schemas.microsoft.com/office/drawing/2014/main" id="{8B99A8E4-64B4-4B4E-9D60-2E884C7E67F2}"/>
              </a:ext>
            </a:extLst>
          </p:cNvPr>
          <p:cNvSpPr/>
          <p:nvPr/>
        </p:nvSpPr>
        <p:spPr>
          <a:xfrm>
            <a:off x="6208320" y="1814194"/>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7" name="Straight Connector 16">
            <a:extLst>
              <a:ext uri="{FF2B5EF4-FFF2-40B4-BE49-F238E27FC236}">
                <a16:creationId xmlns:a16="http://schemas.microsoft.com/office/drawing/2014/main" id="{73DA4EAD-162E-F387-1E89-ABE8D2E43A2D}"/>
              </a:ext>
            </a:extLst>
          </p:cNvPr>
          <p:cNvCxnSpPr>
            <a:cxnSpLocks/>
          </p:cNvCxnSpPr>
          <p:nvPr/>
        </p:nvCxnSpPr>
        <p:spPr>
          <a:xfrm>
            <a:off x="1108075" y="3591963"/>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313D54A1-0344-1EC5-3B59-D2AD1FED901F}"/>
              </a:ext>
            </a:extLst>
          </p:cNvPr>
          <p:cNvCxnSpPr>
            <a:cxnSpLocks/>
          </p:cNvCxnSpPr>
          <p:nvPr/>
        </p:nvCxnSpPr>
        <p:spPr>
          <a:xfrm>
            <a:off x="1108075" y="3031069"/>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66D06255-7186-060D-F914-CECA2180FF5C}"/>
              </a:ext>
            </a:extLst>
          </p:cNvPr>
          <p:cNvCxnSpPr>
            <a:cxnSpLocks/>
          </p:cNvCxnSpPr>
          <p:nvPr/>
        </p:nvCxnSpPr>
        <p:spPr>
          <a:xfrm>
            <a:off x="1108075" y="4950054"/>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817A0D4C-D58E-C90E-2076-D2CAE458DB07}"/>
              </a:ext>
            </a:extLst>
          </p:cNvPr>
          <p:cNvSpPr/>
          <p:nvPr/>
        </p:nvSpPr>
        <p:spPr>
          <a:xfrm>
            <a:off x="1107651" y="3099754"/>
            <a:ext cx="57321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Aizveriet ārdurvis, iekšdurvis, logus un visas iespējamās atveres, lai gaiss no ārpuses neieplūst telpās.</a:t>
            </a:r>
          </a:p>
        </p:txBody>
      </p:sp>
      <p:grpSp>
        <p:nvGrpSpPr>
          <p:cNvPr id="41" name="Group 40">
            <a:extLst>
              <a:ext uri="{FF2B5EF4-FFF2-40B4-BE49-F238E27FC236}">
                <a16:creationId xmlns:a16="http://schemas.microsoft.com/office/drawing/2014/main" id="{4E4BE9E1-6062-2B0E-5809-D109D33F4F7E}"/>
              </a:ext>
            </a:extLst>
          </p:cNvPr>
          <p:cNvGrpSpPr/>
          <p:nvPr/>
        </p:nvGrpSpPr>
        <p:grpSpPr>
          <a:xfrm>
            <a:off x="442913" y="3098376"/>
            <a:ext cx="576263" cy="431800"/>
            <a:chOff x="442913" y="3109159"/>
            <a:chExt cx="576263" cy="431800"/>
          </a:xfrm>
        </p:grpSpPr>
        <p:sp>
          <p:nvSpPr>
            <p:cNvPr id="25" name="Rectangle 24">
              <a:extLst>
                <a:ext uri="{FF2B5EF4-FFF2-40B4-BE49-F238E27FC236}">
                  <a16:creationId xmlns:a16="http://schemas.microsoft.com/office/drawing/2014/main" id="{65252F37-AAFD-36B4-8412-49AED4BC1668}"/>
                </a:ext>
              </a:extLst>
            </p:cNvPr>
            <p:cNvSpPr/>
            <p:nvPr/>
          </p:nvSpPr>
          <p:spPr>
            <a:xfrm>
              <a:off x="442913" y="3109159"/>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6" name="L-Shape 25">
              <a:extLst>
                <a:ext uri="{FF2B5EF4-FFF2-40B4-BE49-F238E27FC236}">
                  <a16:creationId xmlns:a16="http://schemas.microsoft.com/office/drawing/2014/main" id="{76CA692F-E46D-56C4-660A-DE2961DD0DC0}"/>
                </a:ext>
              </a:extLst>
            </p:cNvPr>
            <p:cNvSpPr/>
            <p:nvPr/>
          </p:nvSpPr>
          <p:spPr>
            <a:xfrm rot="13500000">
              <a:off x="559307" y="318867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1" name="Rectangle 20">
            <a:extLst>
              <a:ext uri="{FF2B5EF4-FFF2-40B4-BE49-F238E27FC236}">
                <a16:creationId xmlns:a16="http://schemas.microsoft.com/office/drawing/2014/main" id="{8E7FE903-AF5E-C170-6243-035D5D1DF699}"/>
              </a:ext>
            </a:extLst>
          </p:cNvPr>
          <p:cNvSpPr/>
          <p:nvPr/>
        </p:nvSpPr>
        <p:spPr>
          <a:xfrm>
            <a:off x="1107651" y="3660648"/>
            <a:ext cx="5732101" cy="67479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Noslēdziet vai izslēdziet ventilāciju, gaisa kondicionierus, aiztaisiet ar līmlenti, plēvi vai alumīnija foliju atveres </a:t>
            </a:r>
            <a:r>
              <a:rPr lang="lv-LV" sz="1200" b="0" i="0" err="1">
                <a:solidFill>
                  <a:srgbClr val="212529"/>
                </a:solidFill>
                <a:effectLst/>
              </a:rPr>
              <a:t>nosūces</a:t>
            </a:r>
            <a:r>
              <a:rPr lang="lv-LV" sz="1200" b="0" i="0">
                <a:solidFill>
                  <a:srgbClr val="212529"/>
                </a:solidFill>
                <a:effectLst/>
              </a:rPr>
              <a:t> mehānismiem virtuvē, vannas istabā un citās telpās.</a:t>
            </a:r>
          </a:p>
        </p:txBody>
      </p:sp>
      <p:grpSp>
        <p:nvGrpSpPr>
          <p:cNvPr id="36" name="Group 35">
            <a:extLst>
              <a:ext uri="{FF2B5EF4-FFF2-40B4-BE49-F238E27FC236}">
                <a16:creationId xmlns:a16="http://schemas.microsoft.com/office/drawing/2014/main" id="{32ABF038-72C6-8232-21FC-20ABF3EA2473}"/>
              </a:ext>
            </a:extLst>
          </p:cNvPr>
          <p:cNvGrpSpPr/>
          <p:nvPr/>
        </p:nvGrpSpPr>
        <p:grpSpPr>
          <a:xfrm>
            <a:off x="442913" y="3657892"/>
            <a:ext cx="576263" cy="674791"/>
            <a:chOff x="442913" y="3641564"/>
            <a:chExt cx="576263" cy="674791"/>
          </a:xfrm>
        </p:grpSpPr>
        <p:sp>
          <p:nvSpPr>
            <p:cNvPr id="27" name="Rectangle 26">
              <a:extLst>
                <a:ext uri="{FF2B5EF4-FFF2-40B4-BE49-F238E27FC236}">
                  <a16:creationId xmlns:a16="http://schemas.microsoft.com/office/drawing/2014/main" id="{C3904226-BC52-7EEB-17E4-9D5BBA060485}"/>
                </a:ext>
              </a:extLst>
            </p:cNvPr>
            <p:cNvSpPr/>
            <p:nvPr/>
          </p:nvSpPr>
          <p:spPr>
            <a:xfrm>
              <a:off x="442913" y="3641564"/>
              <a:ext cx="576263" cy="67479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8" name="L-Shape 27">
              <a:extLst>
                <a:ext uri="{FF2B5EF4-FFF2-40B4-BE49-F238E27FC236}">
                  <a16:creationId xmlns:a16="http://schemas.microsoft.com/office/drawing/2014/main" id="{F34ED5F3-692C-B7A2-E174-CC13B6AE02CB}"/>
                </a:ext>
              </a:extLst>
            </p:cNvPr>
            <p:cNvSpPr/>
            <p:nvPr/>
          </p:nvSpPr>
          <p:spPr>
            <a:xfrm rot="13500000">
              <a:off x="559307" y="384257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2" name="Rectangle 21">
            <a:extLst>
              <a:ext uri="{FF2B5EF4-FFF2-40B4-BE49-F238E27FC236}">
                <a16:creationId xmlns:a16="http://schemas.microsoft.com/office/drawing/2014/main" id="{3175BAF5-8B83-02AB-BA0E-05A959B921B4}"/>
              </a:ext>
            </a:extLst>
          </p:cNvPr>
          <p:cNvSpPr/>
          <p:nvPr/>
        </p:nvSpPr>
        <p:spPr>
          <a:xfrm>
            <a:off x="1107651" y="4457845"/>
            <a:ext cx="57321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Sekojiet līdzi atbildīgo iestāžu informācijai par iespējamo apdraudējumu un aizsardzības pasākumiem.</a:t>
            </a:r>
          </a:p>
        </p:txBody>
      </p:sp>
      <p:grpSp>
        <p:nvGrpSpPr>
          <p:cNvPr id="40" name="Group 39">
            <a:extLst>
              <a:ext uri="{FF2B5EF4-FFF2-40B4-BE49-F238E27FC236}">
                <a16:creationId xmlns:a16="http://schemas.microsoft.com/office/drawing/2014/main" id="{88CFA299-94FF-56D6-8075-8A8CD53EF270}"/>
              </a:ext>
            </a:extLst>
          </p:cNvPr>
          <p:cNvGrpSpPr/>
          <p:nvPr/>
        </p:nvGrpSpPr>
        <p:grpSpPr>
          <a:xfrm>
            <a:off x="442913" y="4460399"/>
            <a:ext cx="576263" cy="432000"/>
            <a:chOff x="442913" y="4601700"/>
            <a:chExt cx="576263" cy="432000"/>
          </a:xfrm>
        </p:grpSpPr>
        <p:sp>
          <p:nvSpPr>
            <p:cNvPr id="29" name="Rectangle 28">
              <a:extLst>
                <a:ext uri="{FF2B5EF4-FFF2-40B4-BE49-F238E27FC236}">
                  <a16:creationId xmlns:a16="http://schemas.microsoft.com/office/drawing/2014/main" id="{513B3D2D-CE2B-998E-5C33-317F744DFD24}"/>
                </a:ext>
              </a:extLst>
            </p:cNvPr>
            <p:cNvSpPr/>
            <p:nvPr/>
          </p:nvSpPr>
          <p:spPr>
            <a:xfrm>
              <a:off x="442913" y="460170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12F3126A-C10D-8AD3-0992-976DE7E7725B}"/>
                </a:ext>
              </a:extLst>
            </p:cNvPr>
            <p:cNvSpPr/>
            <p:nvPr/>
          </p:nvSpPr>
          <p:spPr>
            <a:xfrm rot="13500000">
              <a:off x="559307" y="46813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4" name="Rectangle 23">
            <a:extLst>
              <a:ext uri="{FF2B5EF4-FFF2-40B4-BE49-F238E27FC236}">
                <a16:creationId xmlns:a16="http://schemas.microsoft.com/office/drawing/2014/main" id="{0FFE8E1F-D4A6-4A00-83F0-7BA72605D4CF}"/>
              </a:ext>
            </a:extLst>
          </p:cNvPr>
          <p:cNvSpPr/>
          <p:nvPr/>
        </p:nvSpPr>
        <p:spPr>
          <a:xfrm>
            <a:off x="1107651" y="5018739"/>
            <a:ext cx="5732101" cy="43200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Sagatavojiet dzeramā ūdens krājumus slēgtos traukos. Izmantojiet pārtiku un ūdeni iepakojumos vai arī pārtiku, kas uzglabāta telpās.</a:t>
            </a:r>
          </a:p>
        </p:txBody>
      </p:sp>
      <p:grpSp>
        <p:nvGrpSpPr>
          <p:cNvPr id="37" name="Group 36">
            <a:extLst>
              <a:ext uri="{FF2B5EF4-FFF2-40B4-BE49-F238E27FC236}">
                <a16:creationId xmlns:a16="http://schemas.microsoft.com/office/drawing/2014/main" id="{28DD4DB9-4744-D694-58A6-2278F9ED1160}"/>
              </a:ext>
            </a:extLst>
          </p:cNvPr>
          <p:cNvGrpSpPr/>
          <p:nvPr/>
        </p:nvGrpSpPr>
        <p:grpSpPr>
          <a:xfrm>
            <a:off x="442913" y="5020115"/>
            <a:ext cx="576263" cy="432000"/>
            <a:chOff x="442913" y="5170950"/>
            <a:chExt cx="576263" cy="432000"/>
          </a:xfrm>
        </p:grpSpPr>
        <p:sp>
          <p:nvSpPr>
            <p:cNvPr id="31" name="Rectangle 30">
              <a:extLst>
                <a:ext uri="{FF2B5EF4-FFF2-40B4-BE49-F238E27FC236}">
                  <a16:creationId xmlns:a16="http://schemas.microsoft.com/office/drawing/2014/main" id="{81AADF20-6B15-BD93-E6FB-FE22A6F5C8F1}"/>
                </a:ext>
              </a:extLst>
            </p:cNvPr>
            <p:cNvSpPr/>
            <p:nvPr/>
          </p:nvSpPr>
          <p:spPr>
            <a:xfrm>
              <a:off x="442913" y="517095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L-Shape 31">
              <a:extLst>
                <a:ext uri="{FF2B5EF4-FFF2-40B4-BE49-F238E27FC236}">
                  <a16:creationId xmlns:a16="http://schemas.microsoft.com/office/drawing/2014/main" id="{08F92877-4A88-FDFC-73C4-1CBAE3805A1C}"/>
                </a:ext>
              </a:extLst>
            </p:cNvPr>
            <p:cNvSpPr/>
            <p:nvPr/>
          </p:nvSpPr>
          <p:spPr>
            <a:xfrm rot="13500000">
              <a:off x="559307" y="525056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3" name="Rectangle 2">
            <a:extLst>
              <a:ext uri="{FF2B5EF4-FFF2-40B4-BE49-F238E27FC236}">
                <a16:creationId xmlns:a16="http://schemas.microsoft.com/office/drawing/2014/main" id="{9DFCB2BB-7533-8AA1-1812-6910810F684C}"/>
              </a:ext>
            </a:extLst>
          </p:cNvPr>
          <p:cNvSpPr/>
          <p:nvPr/>
        </p:nvSpPr>
        <p:spPr>
          <a:xfrm>
            <a:off x="1107651" y="5579833"/>
            <a:ext cx="5732101" cy="592367"/>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Sagatavojiet elpošanas ceļu aizsardzības līdzekļus - sejas apsējus, respiratorus, gāzmaskas, kā arī blīva auduma drēbes, apmetņus, </a:t>
            </a:r>
            <a:br>
              <a:rPr lang="en-US" sz="1200" b="0" i="0">
                <a:solidFill>
                  <a:srgbClr val="212529"/>
                </a:solidFill>
                <a:effectLst/>
              </a:rPr>
            </a:br>
            <a:r>
              <a:rPr lang="lv-LV" sz="1200" b="0" i="0">
                <a:solidFill>
                  <a:srgbClr val="212529"/>
                </a:solidFill>
                <a:effectLst/>
              </a:rPr>
              <a:t>cimdus, zābakus.</a:t>
            </a:r>
          </a:p>
        </p:txBody>
      </p:sp>
      <p:grpSp>
        <p:nvGrpSpPr>
          <p:cNvPr id="39" name="Group 38">
            <a:extLst>
              <a:ext uri="{FF2B5EF4-FFF2-40B4-BE49-F238E27FC236}">
                <a16:creationId xmlns:a16="http://schemas.microsoft.com/office/drawing/2014/main" id="{D1C6425D-D14F-CCE3-AEB0-1F317D225660}"/>
              </a:ext>
            </a:extLst>
          </p:cNvPr>
          <p:cNvGrpSpPr/>
          <p:nvPr/>
        </p:nvGrpSpPr>
        <p:grpSpPr>
          <a:xfrm>
            <a:off x="442913" y="5579833"/>
            <a:ext cx="576263" cy="592138"/>
            <a:chOff x="442913" y="5579833"/>
            <a:chExt cx="576263" cy="592138"/>
          </a:xfrm>
        </p:grpSpPr>
        <p:sp>
          <p:nvSpPr>
            <p:cNvPr id="5" name="Rectangle 4">
              <a:extLst>
                <a:ext uri="{FF2B5EF4-FFF2-40B4-BE49-F238E27FC236}">
                  <a16:creationId xmlns:a16="http://schemas.microsoft.com/office/drawing/2014/main" id="{513E4803-37C1-64E1-5721-C207209A3CBF}"/>
                </a:ext>
              </a:extLst>
            </p:cNvPr>
            <p:cNvSpPr/>
            <p:nvPr/>
          </p:nvSpPr>
          <p:spPr>
            <a:xfrm>
              <a:off x="442913" y="5579833"/>
              <a:ext cx="576263" cy="59213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6E2FB499-7E29-92E2-F550-BFE50C2BCD34}"/>
                </a:ext>
              </a:extLst>
            </p:cNvPr>
            <p:cNvSpPr/>
            <p:nvPr/>
          </p:nvSpPr>
          <p:spPr>
            <a:xfrm rot="13500000">
              <a:off x="559307" y="573951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38" name="Straight Connector 37">
            <a:extLst>
              <a:ext uri="{FF2B5EF4-FFF2-40B4-BE49-F238E27FC236}">
                <a16:creationId xmlns:a16="http://schemas.microsoft.com/office/drawing/2014/main" id="{1F95807D-C34F-BA62-E99D-82ED27DD62C5}"/>
              </a:ext>
            </a:extLst>
          </p:cNvPr>
          <p:cNvCxnSpPr>
            <a:cxnSpLocks/>
          </p:cNvCxnSpPr>
          <p:nvPr/>
        </p:nvCxnSpPr>
        <p:spPr>
          <a:xfrm>
            <a:off x="1108075" y="5511149"/>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D697A073-4B67-4447-043A-F93B67624135}"/>
              </a:ext>
            </a:extLst>
          </p:cNvPr>
          <p:cNvSpPr/>
          <p:nvPr/>
        </p:nvSpPr>
        <p:spPr>
          <a:xfrm>
            <a:off x="7844941" y="2538660"/>
            <a:ext cx="3904148"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Apstājieties un meklējiet patvērumu ēkā.</a:t>
            </a:r>
          </a:p>
        </p:txBody>
      </p:sp>
      <p:sp>
        <p:nvSpPr>
          <p:cNvPr id="48" name="Rectangle 47">
            <a:extLst>
              <a:ext uri="{FF2B5EF4-FFF2-40B4-BE49-F238E27FC236}">
                <a16:creationId xmlns:a16="http://schemas.microsoft.com/office/drawing/2014/main" id="{67C26A5B-990D-36CA-DC15-B81F58F484FA}"/>
              </a:ext>
            </a:extLst>
          </p:cNvPr>
          <p:cNvSpPr/>
          <p:nvPr/>
        </p:nvSpPr>
        <p:spPr>
          <a:xfrm>
            <a:off x="7189666"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L-Shape 48">
            <a:extLst>
              <a:ext uri="{FF2B5EF4-FFF2-40B4-BE49-F238E27FC236}">
                <a16:creationId xmlns:a16="http://schemas.microsoft.com/office/drawing/2014/main" id="{DC519A94-585B-76F0-4147-1A5C643A6083}"/>
              </a:ext>
            </a:extLst>
          </p:cNvPr>
          <p:cNvSpPr/>
          <p:nvPr/>
        </p:nvSpPr>
        <p:spPr>
          <a:xfrm rot="13500000">
            <a:off x="7306060"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50" name="Straight Connector 49">
            <a:extLst>
              <a:ext uri="{FF2B5EF4-FFF2-40B4-BE49-F238E27FC236}">
                <a16:creationId xmlns:a16="http://schemas.microsoft.com/office/drawing/2014/main" id="{2E25A791-72D3-E3CA-C1AC-AD2AF6CDF088}"/>
              </a:ext>
            </a:extLst>
          </p:cNvPr>
          <p:cNvCxnSpPr>
            <a:cxnSpLocks/>
          </p:cNvCxnSpPr>
          <p:nvPr/>
        </p:nvCxnSpPr>
        <p:spPr>
          <a:xfrm>
            <a:off x="7861300" y="3037446"/>
            <a:ext cx="388820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1" name="Rectangle 50">
            <a:extLst>
              <a:ext uri="{FF2B5EF4-FFF2-40B4-BE49-F238E27FC236}">
                <a16:creationId xmlns:a16="http://schemas.microsoft.com/office/drawing/2014/main" id="{1D9B6445-7F02-AD29-9C1C-BE7ED24A094D}"/>
              </a:ext>
            </a:extLst>
          </p:cNvPr>
          <p:cNvSpPr/>
          <p:nvPr/>
        </p:nvSpPr>
        <p:spPr>
          <a:xfrm>
            <a:off x="11173088"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chemeClr val="tx1"/>
              </a:solidFill>
            </a:endParaRPr>
          </a:p>
        </p:txBody>
      </p:sp>
      <p:sp>
        <p:nvSpPr>
          <p:cNvPr id="52" name="Rectangle 51">
            <a:extLst>
              <a:ext uri="{FF2B5EF4-FFF2-40B4-BE49-F238E27FC236}">
                <a16:creationId xmlns:a16="http://schemas.microsoft.com/office/drawing/2014/main" id="{1BE86892-4D0A-D5EF-2C31-083B961D6FA7}"/>
              </a:ext>
            </a:extLst>
          </p:cNvPr>
          <p:cNvSpPr/>
          <p:nvPr/>
        </p:nvSpPr>
        <p:spPr>
          <a:xfrm>
            <a:off x="11102200"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Rectangle 53">
            <a:extLst>
              <a:ext uri="{FF2B5EF4-FFF2-40B4-BE49-F238E27FC236}">
                <a16:creationId xmlns:a16="http://schemas.microsoft.com/office/drawing/2014/main" id="{A1F71667-D7CD-73A1-7C5D-B210E14862AD}"/>
              </a:ext>
            </a:extLst>
          </p:cNvPr>
          <p:cNvSpPr/>
          <p:nvPr/>
        </p:nvSpPr>
        <p:spPr>
          <a:xfrm>
            <a:off x="7844941" y="3104436"/>
            <a:ext cx="3904148" cy="636387"/>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spc="-20">
                <a:solidFill>
                  <a:srgbClr val="212529"/>
                </a:solidFill>
                <a:effectLst/>
              </a:rPr>
              <a:t>Ja ir jāpaliek automašīnā, automašīnas logus turiet aizvērtus un izslēdziet ventilāciju, gaisa kondicionieri un sildītāju.</a:t>
            </a:r>
          </a:p>
        </p:txBody>
      </p:sp>
      <p:sp>
        <p:nvSpPr>
          <p:cNvPr id="55" name="Rectangle 54">
            <a:extLst>
              <a:ext uri="{FF2B5EF4-FFF2-40B4-BE49-F238E27FC236}">
                <a16:creationId xmlns:a16="http://schemas.microsoft.com/office/drawing/2014/main" id="{66A2792C-2B71-6239-D665-C7703B3883CF}"/>
              </a:ext>
            </a:extLst>
          </p:cNvPr>
          <p:cNvSpPr/>
          <p:nvPr/>
        </p:nvSpPr>
        <p:spPr>
          <a:xfrm>
            <a:off x="7189666" y="3104232"/>
            <a:ext cx="576263" cy="63613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FED96557-39A9-DE02-B310-DB56EBC3F516}"/>
              </a:ext>
            </a:extLst>
          </p:cNvPr>
          <p:cNvSpPr/>
          <p:nvPr/>
        </p:nvSpPr>
        <p:spPr>
          <a:xfrm rot="13500000">
            <a:off x="7306060" y="32859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84" name="Google Shape;1770;p93">
            <a:extLst>
              <a:ext uri="{FF2B5EF4-FFF2-40B4-BE49-F238E27FC236}">
                <a16:creationId xmlns:a16="http://schemas.microsoft.com/office/drawing/2014/main" id="{FFF4B9E7-0D73-4D04-B6EE-7C042B10DAEB}"/>
              </a:ext>
            </a:extLst>
          </p:cNvPr>
          <p:cNvGrpSpPr/>
          <p:nvPr/>
        </p:nvGrpSpPr>
        <p:grpSpPr>
          <a:xfrm>
            <a:off x="6423175" y="1958194"/>
            <a:ext cx="287998" cy="288000"/>
            <a:chOff x="7461366" y="2560815"/>
            <a:chExt cx="457200" cy="457200"/>
          </a:xfrm>
          <a:solidFill>
            <a:schemeClr val="bg1"/>
          </a:solidFill>
        </p:grpSpPr>
        <p:grpSp>
          <p:nvGrpSpPr>
            <p:cNvPr id="85" name="Google Shape;1771;p93">
              <a:extLst>
                <a:ext uri="{FF2B5EF4-FFF2-40B4-BE49-F238E27FC236}">
                  <a16:creationId xmlns:a16="http://schemas.microsoft.com/office/drawing/2014/main" id="{19D87289-DE85-54A6-120C-32102C7358D5}"/>
                </a:ext>
              </a:extLst>
            </p:cNvPr>
            <p:cNvGrpSpPr/>
            <p:nvPr/>
          </p:nvGrpSpPr>
          <p:grpSpPr>
            <a:xfrm>
              <a:off x="7461366" y="2560815"/>
              <a:ext cx="457200" cy="457200"/>
              <a:chOff x="7461366" y="2560815"/>
              <a:chExt cx="457200" cy="457200"/>
            </a:xfrm>
            <a:grpFill/>
          </p:grpSpPr>
          <p:sp>
            <p:nvSpPr>
              <p:cNvPr id="87" name="Google Shape;1772;p93">
                <a:extLst>
                  <a:ext uri="{FF2B5EF4-FFF2-40B4-BE49-F238E27FC236}">
                    <a16:creationId xmlns:a16="http://schemas.microsoft.com/office/drawing/2014/main" id="{70465341-44BC-C747-FB71-A5979664F034}"/>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8" name="Google Shape;1773;p93">
                <a:extLst>
                  <a:ext uri="{FF2B5EF4-FFF2-40B4-BE49-F238E27FC236}">
                    <a16:creationId xmlns:a16="http://schemas.microsoft.com/office/drawing/2014/main" id="{C098B08C-A5EB-E1DE-A35D-83EC23694E34}"/>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9" name="Google Shape;1774;p93">
                <a:extLst>
                  <a:ext uri="{FF2B5EF4-FFF2-40B4-BE49-F238E27FC236}">
                    <a16:creationId xmlns:a16="http://schemas.microsoft.com/office/drawing/2014/main" id="{5E892334-C55A-8B5F-6974-E2BFB0CE3441}"/>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0" name="Google Shape;1775;p93">
                <a:extLst>
                  <a:ext uri="{FF2B5EF4-FFF2-40B4-BE49-F238E27FC236}">
                    <a16:creationId xmlns:a16="http://schemas.microsoft.com/office/drawing/2014/main" id="{16E5E6F9-0E17-1E1E-09DA-5FDF1018EE61}"/>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86" name="Google Shape;1776;p93">
              <a:extLst>
                <a:ext uri="{FF2B5EF4-FFF2-40B4-BE49-F238E27FC236}">
                  <a16:creationId xmlns:a16="http://schemas.microsoft.com/office/drawing/2014/main" id="{F831F379-234F-C2C6-4523-89BC30299736}"/>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91" name="Google Shape;2220;p101">
            <a:extLst>
              <a:ext uri="{FF2B5EF4-FFF2-40B4-BE49-F238E27FC236}">
                <a16:creationId xmlns:a16="http://schemas.microsoft.com/office/drawing/2014/main" id="{B08A34BB-8B10-E973-7947-0F44D4A03BE7}"/>
              </a:ext>
            </a:extLst>
          </p:cNvPr>
          <p:cNvSpPr/>
          <p:nvPr/>
        </p:nvSpPr>
        <p:spPr>
          <a:xfrm>
            <a:off x="11317088" y="1963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2" name="TextBox 11">
            <a:extLst>
              <a:ext uri="{FF2B5EF4-FFF2-40B4-BE49-F238E27FC236}">
                <a16:creationId xmlns:a16="http://schemas.microsoft.com/office/drawing/2014/main" id="{AD2225FF-6AD0-8D20-923C-F49F8D519F21}"/>
              </a:ext>
            </a:extLst>
          </p:cNvPr>
          <p:cNvSpPr txBox="1"/>
          <p:nvPr/>
        </p:nvSpPr>
        <p:spPr>
          <a:xfrm>
            <a:off x="406336" y="1468020"/>
            <a:ext cx="12042378" cy="338554"/>
          </a:xfrm>
          <a:prstGeom prst="rect">
            <a:avLst/>
          </a:prstGeom>
          <a:noFill/>
        </p:spPr>
        <p:txBody>
          <a:bodyPr wrap="square">
            <a:spAutoFit/>
          </a:bodyPr>
          <a:lstStyle/>
          <a:p>
            <a:r>
              <a:rPr lang="lv-LV" sz="1600" b="1">
                <a:solidFill>
                  <a:srgbClr val="A8192D"/>
                </a:solidFill>
              </a:rPr>
              <a:t>Kā rīkoties, ja notikusi radioaktīvo vielu noplūde Latvijā?</a:t>
            </a:r>
          </a:p>
        </p:txBody>
      </p:sp>
      <p:sp>
        <p:nvSpPr>
          <p:cNvPr id="43" name="Rectangle 42">
            <a:extLst>
              <a:ext uri="{FF2B5EF4-FFF2-40B4-BE49-F238E27FC236}">
                <a16:creationId xmlns:a16="http://schemas.microsoft.com/office/drawing/2014/main" id="{18D2847F-F060-4FEF-CF24-A5BB33ED0318}"/>
              </a:ext>
            </a:extLst>
          </p:cNvPr>
          <p:cNvSpPr/>
          <p:nvPr/>
        </p:nvSpPr>
        <p:spPr>
          <a:xfrm>
            <a:off x="7192082" y="3873937"/>
            <a:ext cx="576263" cy="229710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4" name="Rectangle 43">
            <a:extLst>
              <a:ext uri="{FF2B5EF4-FFF2-40B4-BE49-F238E27FC236}">
                <a16:creationId xmlns:a16="http://schemas.microsoft.com/office/drawing/2014/main" id="{6E5DB64D-76D7-9485-6120-7F9ECA5B43C4}"/>
              </a:ext>
            </a:extLst>
          </p:cNvPr>
          <p:cNvSpPr/>
          <p:nvPr/>
        </p:nvSpPr>
        <p:spPr>
          <a:xfrm>
            <a:off x="7765929" y="3873937"/>
            <a:ext cx="3983157" cy="229710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1" i="0">
                <a:solidFill>
                  <a:schemeClr val="bg1"/>
                </a:solidFill>
                <a:effectLst/>
              </a:rPr>
              <a:t>Radioaktīvais piesārņojums visbīstamākais ir pirmajās stundās. Ja iespējams, palieciet iekštelpās!</a:t>
            </a:r>
            <a:endParaRPr lang="en-US" sz="1400" b="1" i="0">
              <a:solidFill>
                <a:schemeClr val="bg1"/>
              </a:solidFill>
              <a:effectLst/>
            </a:endParaRPr>
          </a:p>
          <a:p>
            <a:pPr algn="l"/>
            <a:endParaRPr lang="lv-LV" sz="1400" b="1" i="0">
              <a:solidFill>
                <a:schemeClr val="bg1"/>
              </a:solidFill>
              <a:effectLst/>
            </a:endParaRPr>
          </a:p>
          <a:p>
            <a:pPr algn="l"/>
            <a:r>
              <a:rPr lang="lv-LV" sz="1400" b="1" i="0">
                <a:solidFill>
                  <a:schemeClr val="bg1"/>
                </a:solidFill>
                <a:effectLst/>
              </a:rPr>
              <a:t>Lauku apvidos mājlopi jāieved telpās, jāveic lopbarības un ūdens avotu hermetizāciju. Mājlopus nedrīkst barot ar barību, kas uzglabāta atklātā laukā</a:t>
            </a:r>
          </a:p>
        </p:txBody>
      </p:sp>
      <p:sp>
        <p:nvSpPr>
          <p:cNvPr id="46" name="L-Shape 45">
            <a:extLst>
              <a:ext uri="{FF2B5EF4-FFF2-40B4-BE49-F238E27FC236}">
                <a16:creationId xmlns:a16="http://schemas.microsoft.com/office/drawing/2014/main" id="{CD226D79-1186-ED7E-2DA2-C75F5085C313}"/>
              </a:ext>
            </a:extLst>
          </p:cNvPr>
          <p:cNvSpPr/>
          <p:nvPr/>
        </p:nvSpPr>
        <p:spPr>
          <a:xfrm rot="13500000">
            <a:off x="7318425" y="4886100"/>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7" name="Group 6">
            <a:extLst>
              <a:ext uri="{FF2B5EF4-FFF2-40B4-BE49-F238E27FC236}">
                <a16:creationId xmlns:a16="http://schemas.microsoft.com/office/drawing/2014/main" id="{5C06E173-694E-7B3F-45EE-C6466226B803}"/>
              </a:ext>
            </a:extLst>
          </p:cNvPr>
          <p:cNvGrpSpPr/>
          <p:nvPr/>
        </p:nvGrpSpPr>
        <p:grpSpPr>
          <a:xfrm>
            <a:off x="8844369" y="159786"/>
            <a:ext cx="2904719" cy="220267"/>
            <a:chOff x="8844369" y="159786"/>
            <a:chExt cx="2904719" cy="220267"/>
          </a:xfrm>
        </p:grpSpPr>
        <p:sp>
          <p:nvSpPr>
            <p:cNvPr id="8" name="Rectangle 7">
              <a:extLst>
                <a:ext uri="{FF2B5EF4-FFF2-40B4-BE49-F238E27FC236}">
                  <a16:creationId xmlns:a16="http://schemas.microsoft.com/office/drawing/2014/main" id="{FE84A426-B025-6FA2-30F8-BA445C784C73}"/>
                </a:ext>
              </a:extLst>
            </p:cNvPr>
            <p:cNvSpPr/>
            <p:nvPr/>
          </p:nvSpPr>
          <p:spPr>
            <a:xfrm>
              <a:off x="9327597" y="159786"/>
              <a:ext cx="2179876"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ntropogēn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595638E9-A1FD-56E1-286A-3D3C3512CA80}"/>
                </a:ext>
              </a:extLst>
            </p:cNvPr>
            <p:cNvSpPr/>
            <p:nvPr/>
          </p:nvSpPr>
          <p:spPr>
            <a:xfrm>
              <a:off x="9085983"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48A33928-5513-F64B-7358-8CACED96DE3F}"/>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9" name="Rectangle 58">
              <a:extLst>
                <a:ext uri="{FF2B5EF4-FFF2-40B4-BE49-F238E27FC236}">
                  <a16:creationId xmlns:a16="http://schemas.microsoft.com/office/drawing/2014/main" id="{F8EC580E-09C3-3DCB-5707-E73D4CE126D4}"/>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426333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a:extLst>
              <a:ext uri="{FF2B5EF4-FFF2-40B4-BE49-F238E27FC236}">
                <a16:creationId xmlns:a16="http://schemas.microsoft.com/office/drawing/2014/main" id="{DFCE0E3C-012B-4F30-8D46-589FB7BDFA9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p:blipFill>
        <p:spPr bwMode="auto">
          <a:xfrm flipH="1">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t>6.3</a:t>
            </a:r>
            <a:r>
              <a:rPr lang="lv-LV" sz="4000">
                <a:latin typeface="+mj-lt"/>
              </a:rPr>
              <a:t>.</a:t>
            </a:r>
            <a:r>
              <a:rPr lang="lv-LV" sz="4000"/>
              <a:t> Individuālā noturība</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012138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7AE41A81-5DA9-3D29-3038-84D54EDD521C}"/>
              </a:ext>
            </a:extLst>
          </p:cNvPr>
          <p:cNvGraphicFramePr>
            <a:graphicFrameLocks noChangeAspect="1"/>
          </p:cNvGraphicFramePr>
          <p:nvPr>
            <p:custDataLst>
              <p:tags r:id="rId1"/>
            </p:custDataLst>
            <p:extLst>
              <p:ext uri="{D42A27DB-BD31-4B8C-83A1-F6EECF244321}">
                <p14:modId xmlns:p14="http://schemas.microsoft.com/office/powerpoint/2010/main" val="825288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1" name="think-cell data - do not delete" hidden="1">
                        <a:extLst>
                          <a:ext uri="{FF2B5EF4-FFF2-40B4-BE49-F238E27FC236}">
                            <a16:creationId xmlns:a16="http://schemas.microsoft.com/office/drawing/2014/main" id="{7AE41A81-5DA9-3D29-3038-84D54EDD52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Īslaicīgas evakuācijas gadījumā nepieciešamās lietas un piederumi</a:t>
            </a:r>
            <a:br>
              <a:rPr lang="lv-LV"/>
            </a:b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9</a:t>
            </a:fld>
            <a:endParaRPr lang="en-GB"/>
          </a:p>
        </p:txBody>
      </p:sp>
      <p:grpSp>
        <p:nvGrpSpPr>
          <p:cNvPr id="3" name="Group 2">
            <a:extLst>
              <a:ext uri="{FF2B5EF4-FFF2-40B4-BE49-F238E27FC236}">
                <a16:creationId xmlns:a16="http://schemas.microsoft.com/office/drawing/2014/main" id="{53A703A3-3975-F6E3-8DB1-7F94A02DBDD4}"/>
              </a:ext>
            </a:extLst>
          </p:cNvPr>
          <p:cNvGrpSpPr/>
          <p:nvPr/>
        </p:nvGrpSpPr>
        <p:grpSpPr>
          <a:xfrm>
            <a:off x="9641294" y="157007"/>
            <a:ext cx="2107794" cy="220267"/>
            <a:chOff x="9641294" y="157007"/>
            <a:chExt cx="2107794" cy="220267"/>
          </a:xfrm>
        </p:grpSpPr>
        <p:sp>
          <p:nvSpPr>
            <p:cNvPr id="4" name="Rectangle 3">
              <a:extLst>
                <a:ext uri="{FF2B5EF4-FFF2-40B4-BE49-F238E27FC236}">
                  <a16:creationId xmlns:a16="http://schemas.microsoft.com/office/drawing/2014/main" id="{7A057D5A-FB41-71BC-5F1C-4F16A5BE9ACD}"/>
                </a:ext>
              </a:extLst>
            </p:cNvPr>
            <p:cNvSpPr/>
            <p:nvPr/>
          </p:nvSpPr>
          <p:spPr>
            <a:xfrm>
              <a:off x="10366138" y="159786"/>
              <a:ext cx="138295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Individuālā</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noturība</a:t>
              </a:r>
              <a:endParaRPr kumimoji="0" lang="en-US"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16D96229-3565-0907-A705-33C828E6BA91}"/>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E8916042-AEE4-D99E-5A98-71E3E6276A8C}"/>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586B873D-124C-E8E8-8935-0CFFC59FFCBC}"/>
                </a:ext>
              </a:extLst>
            </p:cNvPr>
            <p:cNvSpPr/>
            <p:nvPr/>
          </p:nvSpPr>
          <p:spPr>
            <a:xfrm>
              <a:off x="10124522"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grpSp>
      <p:cxnSp>
        <p:nvCxnSpPr>
          <p:cNvPr id="7" name="Straight Connector 6">
            <a:extLst>
              <a:ext uri="{FF2B5EF4-FFF2-40B4-BE49-F238E27FC236}">
                <a16:creationId xmlns:a16="http://schemas.microsoft.com/office/drawing/2014/main" id="{85F8FCFE-E283-8D8B-37C4-0FA2ACA85E09}"/>
              </a:ext>
            </a:extLst>
          </p:cNvPr>
          <p:cNvCxnSpPr>
            <a:cxnSpLocks/>
          </p:cNvCxnSpPr>
          <p:nvPr/>
        </p:nvCxnSpPr>
        <p:spPr>
          <a:xfrm>
            <a:off x="1088884" y="3234312"/>
            <a:ext cx="482772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 name="Straight Connector 8">
            <a:extLst>
              <a:ext uri="{FF2B5EF4-FFF2-40B4-BE49-F238E27FC236}">
                <a16:creationId xmlns:a16="http://schemas.microsoft.com/office/drawing/2014/main" id="{9CFE0F3B-C5B0-7452-E45A-25AF31FE7AE2}"/>
              </a:ext>
            </a:extLst>
          </p:cNvPr>
          <p:cNvCxnSpPr>
            <a:cxnSpLocks/>
          </p:cNvCxnSpPr>
          <p:nvPr/>
        </p:nvCxnSpPr>
        <p:spPr>
          <a:xfrm>
            <a:off x="1089025" y="3997829"/>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41D157D9-7468-894F-DEA9-2F7AE6B374B7}"/>
              </a:ext>
            </a:extLst>
          </p:cNvPr>
          <p:cNvCxnSpPr>
            <a:cxnSpLocks/>
          </p:cNvCxnSpPr>
          <p:nvPr/>
        </p:nvCxnSpPr>
        <p:spPr>
          <a:xfrm>
            <a:off x="6921500" y="3234312"/>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8" name="Group 27">
            <a:extLst>
              <a:ext uri="{FF2B5EF4-FFF2-40B4-BE49-F238E27FC236}">
                <a16:creationId xmlns:a16="http://schemas.microsoft.com/office/drawing/2014/main" id="{BA6CD622-55A7-F1C5-610C-AD5D7AFA0841}"/>
              </a:ext>
            </a:extLst>
          </p:cNvPr>
          <p:cNvGrpSpPr/>
          <p:nvPr/>
        </p:nvGrpSpPr>
        <p:grpSpPr>
          <a:xfrm>
            <a:off x="442772" y="2519575"/>
            <a:ext cx="11306175" cy="665957"/>
            <a:chOff x="442772" y="2519575"/>
            <a:chExt cx="11306175" cy="665957"/>
          </a:xfrm>
        </p:grpSpPr>
        <p:sp>
          <p:nvSpPr>
            <p:cNvPr id="31" name="Rectangle 30">
              <a:extLst>
                <a:ext uri="{FF2B5EF4-FFF2-40B4-BE49-F238E27FC236}">
                  <a16:creationId xmlns:a16="http://schemas.microsoft.com/office/drawing/2014/main" id="{4F2FF167-7C7B-B9E6-3AFE-8A596E06FC6E}"/>
                </a:ext>
              </a:extLst>
            </p:cNvPr>
            <p:cNvSpPr/>
            <p:nvPr/>
          </p:nvSpPr>
          <p:spPr>
            <a:xfrm>
              <a:off x="1089469" y="2654909"/>
              <a:ext cx="482714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P</a:t>
              </a:r>
              <a:r>
                <a:rPr lang="lv-LV" sz="1400" b="0" i="0">
                  <a:solidFill>
                    <a:schemeClr val="tx1"/>
                  </a:solidFill>
                  <a:effectLst/>
                </a:rPr>
                <a:t>ersonu apliecinoši dokumenti (pase, ID karte)</a:t>
              </a:r>
            </a:p>
          </p:txBody>
        </p:sp>
        <p:sp>
          <p:nvSpPr>
            <p:cNvPr id="32" name="Rectangle 31">
              <a:extLst>
                <a:ext uri="{FF2B5EF4-FFF2-40B4-BE49-F238E27FC236}">
                  <a16:creationId xmlns:a16="http://schemas.microsoft.com/office/drawing/2014/main" id="{8D565256-1164-3A41-1BCA-A0CFECF31434}"/>
                </a:ext>
              </a:extLst>
            </p:cNvPr>
            <p:cNvSpPr/>
            <p:nvPr/>
          </p:nvSpPr>
          <p:spPr>
            <a:xfrm>
              <a:off x="442772" y="2519924"/>
              <a:ext cx="576263" cy="66525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33" name="L-Shape 32">
              <a:extLst>
                <a:ext uri="{FF2B5EF4-FFF2-40B4-BE49-F238E27FC236}">
                  <a16:creationId xmlns:a16="http://schemas.microsoft.com/office/drawing/2014/main" id="{FB8CB5F3-EC2E-E5ED-556D-E5EFD1D0B13C}"/>
                </a:ext>
              </a:extLst>
            </p:cNvPr>
            <p:cNvSpPr/>
            <p:nvPr/>
          </p:nvSpPr>
          <p:spPr>
            <a:xfrm rot="13500000">
              <a:off x="577581" y="2716165"/>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35" name="Rectangle 34">
              <a:extLst>
                <a:ext uri="{FF2B5EF4-FFF2-40B4-BE49-F238E27FC236}">
                  <a16:creationId xmlns:a16="http://schemas.microsoft.com/office/drawing/2014/main" id="{811931EC-6857-1B96-90C3-EBA4143A997B}"/>
                </a:ext>
              </a:extLst>
            </p:cNvPr>
            <p:cNvSpPr/>
            <p:nvPr/>
          </p:nvSpPr>
          <p:spPr>
            <a:xfrm>
              <a:off x="6922085" y="2654909"/>
              <a:ext cx="4826862"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rgbClr val="212529"/>
                  </a:solidFill>
                </a:rPr>
                <a:t>M</a:t>
              </a:r>
              <a:r>
                <a:rPr lang="it-IT" sz="1400" b="0" i="0">
                  <a:solidFill>
                    <a:srgbClr val="212529"/>
                  </a:solidFill>
                  <a:effectLst/>
                </a:rPr>
                <a:t>obil</a:t>
              </a:r>
              <a:r>
                <a:rPr lang="lv-LV" sz="1400" b="0" i="0" err="1">
                  <a:solidFill>
                    <a:srgbClr val="212529"/>
                  </a:solidFill>
                  <a:effectLst/>
                </a:rPr>
                <a:t>ais</a:t>
              </a:r>
              <a:r>
                <a:rPr lang="it-IT" sz="1400" b="0" i="0">
                  <a:solidFill>
                    <a:srgbClr val="212529"/>
                  </a:solidFill>
                  <a:effectLst/>
                </a:rPr>
                <a:t> tālruni</a:t>
              </a:r>
              <a:r>
                <a:rPr lang="lv-LV" sz="1400" b="0" i="0">
                  <a:solidFill>
                    <a:srgbClr val="212529"/>
                  </a:solidFill>
                  <a:effectLst/>
                </a:rPr>
                <a:t>s</a:t>
              </a:r>
              <a:r>
                <a:rPr lang="it-IT" sz="1400" b="0" i="0">
                  <a:solidFill>
                    <a:srgbClr val="212529"/>
                  </a:solidFill>
                  <a:effectLst/>
                </a:rPr>
                <a:t> un tā lādētāj</a:t>
              </a:r>
              <a:r>
                <a:rPr lang="lv-LV" sz="1400" b="0" i="0">
                  <a:solidFill>
                    <a:srgbClr val="212529"/>
                  </a:solidFill>
                  <a:effectLst/>
                </a:rPr>
                <a:t>s</a:t>
              </a:r>
            </a:p>
          </p:txBody>
        </p:sp>
        <p:sp>
          <p:nvSpPr>
            <p:cNvPr id="37" name="Rectangle 36">
              <a:extLst>
                <a:ext uri="{FF2B5EF4-FFF2-40B4-BE49-F238E27FC236}">
                  <a16:creationId xmlns:a16="http://schemas.microsoft.com/office/drawing/2014/main" id="{2D51C834-187B-5F0A-FBAA-F1643F41C37B}"/>
                </a:ext>
              </a:extLst>
            </p:cNvPr>
            <p:cNvSpPr/>
            <p:nvPr/>
          </p:nvSpPr>
          <p:spPr>
            <a:xfrm>
              <a:off x="6275388" y="2519575"/>
              <a:ext cx="576263" cy="66595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39" name="L-Shape 38">
              <a:extLst>
                <a:ext uri="{FF2B5EF4-FFF2-40B4-BE49-F238E27FC236}">
                  <a16:creationId xmlns:a16="http://schemas.microsoft.com/office/drawing/2014/main" id="{5E4FBBF7-73AD-F722-B3B1-69175ACC2A39}"/>
                </a:ext>
              </a:extLst>
            </p:cNvPr>
            <p:cNvSpPr/>
            <p:nvPr/>
          </p:nvSpPr>
          <p:spPr>
            <a:xfrm rot="13500000">
              <a:off x="6410197" y="2716165"/>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grpSp>
      <p:grpSp>
        <p:nvGrpSpPr>
          <p:cNvPr id="27" name="Group 26">
            <a:extLst>
              <a:ext uri="{FF2B5EF4-FFF2-40B4-BE49-F238E27FC236}">
                <a16:creationId xmlns:a16="http://schemas.microsoft.com/office/drawing/2014/main" id="{68C236D8-4394-A551-F3CC-2D3105E22996}"/>
              </a:ext>
            </a:extLst>
          </p:cNvPr>
          <p:cNvGrpSpPr/>
          <p:nvPr/>
        </p:nvGrpSpPr>
        <p:grpSpPr>
          <a:xfrm>
            <a:off x="442772" y="3283092"/>
            <a:ext cx="11306175" cy="665957"/>
            <a:chOff x="442772" y="3407526"/>
            <a:chExt cx="11306175" cy="665957"/>
          </a:xfrm>
        </p:grpSpPr>
        <p:sp>
          <p:nvSpPr>
            <p:cNvPr id="10" name="Rectangle 9">
              <a:extLst>
                <a:ext uri="{FF2B5EF4-FFF2-40B4-BE49-F238E27FC236}">
                  <a16:creationId xmlns:a16="http://schemas.microsoft.com/office/drawing/2014/main" id="{51187766-79AB-3948-D828-6DE1F7A2DC7F}"/>
                </a:ext>
              </a:extLst>
            </p:cNvPr>
            <p:cNvSpPr/>
            <p:nvPr/>
          </p:nvSpPr>
          <p:spPr>
            <a:xfrm>
              <a:off x="1089469" y="3542860"/>
              <a:ext cx="482714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N</a:t>
              </a:r>
              <a:r>
                <a:rPr lang="lv-LV" sz="1400" b="0" i="0">
                  <a:solidFill>
                    <a:schemeClr val="tx1"/>
                  </a:solidFill>
                  <a:effectLst/>
                </a:rPr>
                <a:t>auda</a:t>
              </a:r>
            </a:p>
          </p:txBody>
        </p:sp>
        <p:sp>
          <p:nvSpPr>
            <p:cNvPr id="11" name="Rectangle 10">
              <a:extLst>
                <a:ext uri="{FF2B5EF4-FFF2-40B4-BE49-F238E27FC236}">
                  <a16:creationId xmlns:a16="http://schemas.microsoft.com/office/drawing/2014/main" id="{45A3D1BB-AB8A-78FC-67E4-3110390D7C56}"/>
                </a:ext>
              </a:extLst>
            </p:cNvPr>
            <p:cNvSpPr/>
            <p:nvPr/>
          </p:nvSpPr>
          <p:spPr>
            <a:xfrm>
              <a:off x="442772" y="3407875"/>
              <a:ext cx="576263" cy="66525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12" name="L-Shape 11">
              <a:extLst>
                <a:ext uri="{FF2B5EF4-FFF2-40B4-BE49-F238E27FC236}">
                  <a16:creationId xmlns:a16="http://schemas.microsoft.com/office/drawing/2014/main" id="{F15812ED-3612-58F0-3F42-83786447EF99}"/>
                </a:ext>
              </a:extLst>
            </p:cNvPr>
            <p:cNvSpPr/>
            <p:nvPr/>
          </p:nvSpPr>
          <p:spPr>
            <a:xfrm rot="13500000">
              <a:off x="577581" y="3604116"/>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43" name="Rectangle 42">
              <a:extLst>
                <a:ext uri="{FF2B5EF4-FFF2-40B4-BE49-F238E27FC236}">
                  <a16:creationId xmlns:a16="http://schemas.microsoft.com/office/drawing/2014/main" id="{F8B22F5E-FAAC-75DF-49F4-16340651EEE9}"/>
                </a:ext>
              </a:extLst>
            </p:cNvPr>
            <p:cNvSpPr/>
            <p:nvPr/>
          </p:nvSpPr>
          <p:spPr>
            <a:xfrm>
              <a:off x="6922085" y="3542860"/>
              <a:ext cx="4826862"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rgbClr val="212529"/>
                  </a:solidFill>
                </a:rPr>
                <a:t>P</a:t>
              </a:r>
              <a:r>
                <a:rPr lang="lv-LV" sz="1400" b="0" i="0">
                  <a:solidFill>
                    <a:srgbClr val="212529"/>
                  </a:solidFill>
                  <a:effectLst/>
                </a:rPr>
                <a:t>ortatīvais radioaparāts ar baterijām</a:t>
              </a:r>
            </a:p>
          </p:txBody>
        </p:sp>
        <p:sp>
          <p:nvSpPr>
            <p:cNvPr id="54" name="Rectangle 53">
              <a:extLst>
                <a:ext uri="{FF2B5EF4-FFF2-40B4-BE49-F238E27FC236}">
                  <a16:creationId xmlns:a16="http://schemas.microsoft.com/office/drawing/2014/main" id="{EE4D52E6-3945-607A-CD49-B0FBED36A37E}"/>
                </a:ext>
              </a:extLst>
            </p:cNvPr>
            <p:cNvSpPr/>
            <p:nvPr/>
          </p:nvSpPr>
          <p:spPr>
            <a:xfrm>
              <a:off x="6275388" y="3407526"/>
              <a:ext cx="576263" cy="66595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55" name="L-Shape 54">
              <a:extLst>
                <a:ext uri="{FF2B5EF4-FFF2-40B4-BE49-F238E27FC236}">
                  <a16:creationId xmlns:a16="http://schemas.microsoft.com/office/drawing/2014/main" id="{92AFCC23-7BBF-4DC8-B27C-CF740F20218E}"/>
                </a:ext>
              </a:extLst>
            </p:cNvPr>
            <p:cNvSpPr/>
            <p:nvPr/>
          </p:nvSpPr>
          <p:spPr>
            <a:xfrm rot="13500000">
              <a:off x="6410197" y="3604116"/>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grpSp>
      <p:grpSp>
        <p:nvGrpSpPr>
          <p:cNvPr id="26" name="Group 25">
            <a:extLst>
              <a:ext uri="{FF2B5EF4-FFF2-40B4-BE49-F238E27FC236}">
                <a16:creationId xmlns:a16="http://schemas.microsoft.com/office/drawing/2014/main" id="{C8DC9E60-F11C-EA4B-558F-ED00903892E2}"/>
              </a:ext>
            </a:extLst>
          </p:cNvPr>
          <p:cNvGrpSpPr/>
          <p:nvPr/>
        </p:nvGrpSpPr>
        <p:grpSpPr>
          <a:xfrm>
            <a:off x="442772" y="4049061"/>
            <a:ext cx="11306175" cy="665957"/>
            <a:chOff x="442772" y="4297929"/>
            <a:chExt cx="11306175" cy="665957"/>
          </a:xfrm>
        </p:grpSpPr>
        <p:sp>
          <p:nvSpPr>
            <p:cNvPr id="14" name="Rectangle 13">
              <a:extLst>
                <a:ext uri="{FF2B5EF4-FFF2-40B4-BE49-F238E27FC236}">
                  <a16:creationId xmlns:a16="http://schemas.microsoft.com/office/drawing/2014/main" id="{D8F7AE61-B751-0B6B-228E-7A418D2EC00D}"/>
                </a:ext>
              </a:extLst>
            </p:cNvPr>
            <p:cNvSpPr/>
            <p:nvPr/>
          </p:nvSpPr>
          <p:spPr>
            <a:xfrm>
              <a:off x="1089469" y="4433263"/>
              <a:ext cx="482714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B</a:t>
              </a:r>
              <a:r>
                <a:rPr lang="lv-LV" sz="1400" b="0" i="0">
                  <a:solidFill>
                    <a:schemeClr val="tx1"/>
                  </a:solidFill>
                  <a:effectLst/>
                </a:rPr>
                <a:t>ankas kartes</a:t>
              </a:r>
            </a:p>
          </p:txBody>
        </p:sp>
        <p:sp>
          <p:nvSpPr>
            <p:cNvPr id="22" name="Rectangle 21">
              <a:extLst>
                <a:ext uri="{FF2B5EF4-FFF2-40B4-BE49-F238E27FC236}">
                  <a16:creationId xmlns:a16="http://schemas.microsoft.com/office/drawing/2014/main" id="{F6A8C2FE-5E94-A671-A2FB-B82BA60AE593}"/>
                </a:ext>
              </a:extLst>
            </p:cNvPr>
            <p:cNvSpPr/>
            <p:nvPr/>
          </p:nvSpPr>
          <p:spPr>
            <a:xfrm>
              <a:off x="442772" y="4298278"/>
              <a:ext cx="576263" cy="66525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29" name="L-Shape 28">
              <a:extLst>
                <a:ext uri="{FF2B5EF4-FFF2-40B4-BE49-F238E27FC236}">
                  <a16:creationId xmlns:a16="http://schemas.microsoft.com/office/drawing/2014/main" id="{963CE3B2-0689-BBA9-CFCD-1725FC00718B}"/>
                </a:ext>
              </a:extLst>
            </p:cNvPr>
            <p:cNvSpPr/>
            <p:nvPr/>
          </p:nvSpPr>
          <p:spPr>
            <a:xfrm rot="13500000">
              <a:off x="577581" y="4494519"/>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57" name="Rectangle 56">
              <a:extLst>
                <a:ext uri="{FF2B5EF4-FFF2-40B4-BE49-F238E27FC236}">
                  <a16:creationId xmlns:a16="http://schemas.microsoft.com/office/drawing/2014/main" id="{E2D42F57-444E-76CB-BBCE-79669F05A24D}"/>
                </a:ext>
              </a:extLst>
            </p:cNvPr>
            <p:cNvSpPr/>
            <p:nvPr/>
          </p:nvSpPr>
          <p:spPr>
            <a:xfrm>
              <a:off x="6275388" y="4297929"/>
              <a:ext cx="576263" cy="66595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200" b="1"/>
            </a:p>
          </p:txBody>
        </p:sp>
        <p:sp>
          <p:nvSpPr>
            <p:cNvPr id="58" name="L-Shape 57">
              <a:extLst>
                <a:ext uri="{FF2B5EF4-FFF2-40B4-BE49-F238E27FC236}">
                  <a16:creationId xmlns:a16="http://schemas.microsoft.com/office/drawing/2014/main" id="{A186B658-9A0E-BBA7-9B21-44BC57CAA7F2}"/>
                </a:ext>
              </a:extLst>
            </p:cNvPr>
            <p:cNvSpPr/>
            <p:nvPr/>
          </p:nvSpPr>
          <p:spPr>
            <a:xfrm rot="13500000">
              <a:off x="6410197" y="4494519"/>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200"/>
            </a:p>
          </p:txBody>
        </p:sp>
        <p:sp>
          <p:nvSpPr>
            <p:cNvPr id="59" name="Rectangle 58">
              <a:extLst>
                <a:ext uri="{FF2B5EF4-FFF2-40B4-BE49-F238E27FC236}">
                  <a16:creationId xmlns:a16="http://schemas.microsoft.com/office/drawing/2014/main" id="{8F1E0B3E-E914-6820-0D81-D1ED9FAED68A}"/>
                </a:ext>
              </a:extLst>
            </p:cNvPr>
            <p:cNvSpPr/>
            <p:nvPr/>
          </p:nvSpPr>
          <p:spPr>
            <a:xfrm>
              <a:off x="6922085" y="4433263"/>
              <a:ext cx="4826862"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rgbClr val="212529"/>
                  </a:solidFill>
                </a:rPr>
                <a:t>M</a:t>
              </a:r>
              <a:r>
                <a:rPr lang="lv-LV" sz="1400" b="0" i="0">
                  <a:solidFill>
                    <a:srgbClr val="212529"/>
                  </a:solidFill>
                  <a:effectLst/>
                </a:rPr>
                <a:t>edikamenti, ja tos nepieciešams lietot regulāri</a:t>
              </a:r>
            </a:p>
          </p:txBody>
        </p:sp>
      </p:grpSp>
      <p:cxnSp>
        <p:nvCxnSpPr>
          <p:cNvPr id="60" name="Straight Connector 59">
            <a:extLst>
              <a:ext uri="{FF2B5EF4-FFF2-40B4-BE49-F238E27FC236}">
                <a16:creationId xmlns:a16="http://schemas.microsoft.com/office/drawing/2014/main" id="{0E670D97-BF54-ADE1-4392-6BCFF22D34BA}"/>
              </a:ext>
            </a:extLst>
          </p:cNvPr>
          <p:cNvCxnSpPr>
            <a:cxnSpLocks/>
          </p:cNvCxnSpPr>
          <p:nvPr/>
        </p:nvCxnSpPr>
        <p:spPr>
          <a:xfrm>
            <a:off x="6921500" y="3997829"/>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1" name="Rectangle 60">
            <a:extLst>
              <a:ext uri="{FF2B5EF4-FFF2-40B4-BE49-F238E27FC236}">
                <a16:creationId xmlns:a16="http://schemas.microsoft.com/office/drawing/2014/main" id="{CF6A31AA-8A7F-70C8-6B79-856B02CB0375}"/>
              </a:ext>
            </a:extLst>
          </p:cNvPr>
          <p:cNvSpPr/>
          <p:nvPr/>
        </p:nvSpPr>
        <p:spPr>
          <a:xfrm>
            <a:off x="442772" y="1823561"/>
            <a:ext cx="11306174"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chorCtr="0">
            <a:noAutofit/>
          </a:bodyPr>
          <a:lstStyle/>
          <a:p>
            <a:r>
              <a:rPr lang="lv-LV" sz="1600" b="1">
                <a:solidFill>
                  <a:schemeClr val="tx1"/>
                </a:solidFill>
                <a:latin typeface="Arial" panose="020B0604020202020204" pitchFamily="34" charset="0"/>
              </a:rPr>
              <a:t>Operatīvas un īslaicīgas evakuācijas gadījumā jāņem līdzi:</a:t>
            </a:r>
          </a:p>
        </p:txBody>
      </p:sp>
      <p:pic>
        <p:nvPicPr>
          <p:cNvPr id="40" name="Picture 39">
            <a:extLst>
              <a:ext uri="{FF2B5EF4-FFF2-40B4-BE49-F238E27FC236}">
                <a16:creationId xmlns:a16="http://schemas.microsoft.com/office/drawing/2014/main" id="{2D2E3D23-4999-3A28-DA9B-1944F1556C97}"/>
              </a:ext>
            </a:extLst>
          </p:cNvPr>
          <p:cNvPicPr>
            <a:picLocks noChangeAspect="1"/>
          </p:cNvPicPr>
          <p:nvPr/>
        </p:nvPicPr>
        <p:blipFill rotWithShape="1">
          <a:blip r:embed="rId6"/>
          <a:srcRect t="28201" b="62525"/>
          <a:stretch/>
        </p:blipFill>
        <p:spPr>
          <a:xfrm>
            <a:off x="442912" y="4815030"/>
            <a:ext cx="11306176" cy="1357170"/>
          </a:xfrm>
          <a:prstGeom prst="rect">
            <a:avLst/>
          </a:prstGeom>
        </p:spPr>
      </p:pic>
      <p:sp>
        <p:nvSpPr>
          <p:cNvPr id="48" name="Rectangle 47">
            <a:extLst>
              <a:ext uri="{FF2B5EF4-FFF2-40B4-BE49-F238E27FC236}">
                <a16:creationId xmlns:a16="http://schemas.microsoft.com/office/drawing/2014/main" id="{8D2F592B-245C-22B7-41CF-F80BFB0E750F}"/>
              </a:ext>
            </a:extLst>
          </p:cNvPr>
          <p:cNvSpPr/>
          <p:nvPr/>
        </p:nvSpPr>
        <p:spPr>
          <a:xfrm>
            <a:off x="442913" y="4814887"/>
            <a:ext cx="11306175" cy="1357313"/>
          </a:xfrm>
          <a:prstGeom prst="rect">
            <a:avLst/>
          </a:prstGeom>
          <a:solidFill>
            <a:schemeClr val="tx1">
              <a:alpha val="3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TextBox 50">
            <a:extLst>
              <a:ext uri="{FF2B5EF4-FFF2-40B4-BE49-F238E27FC236}">
                <a16:creationId xmlns:a16="http://schemas.microsoft.com/office/drawing/2014/main" id="{AF206590-85C6-978A-0EA2-5D58ECD8D4AF}"/>
              </a:ext>
            </a:extLst>
          </p:cNvPr>
          <p:cNvSpPr txBox="1"/>
          <p:nvPr/>
        </p:nvSpPr>
        <p:spPr>
          <a:xfrm>
            <a:off x="568551" y="5526966"/>
            <a:ext cx="37589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7">
                  <a:extLst>
                    <a:ext uri="{A12FA001-AC4F-418D-AE19-62706E023703}">
                      <ahyp:hlinkClr xmlns:ahyp="http://schemas.microsoft.com/office/drawing/2018/hyperlinkcolor" val="tx"/>
                    </a:ext>
                  </a:extLst>
                </a:hlinkClick>
              </a:rPr>
              <a:t>Evakuācija un ārkārtas gadījumu soma</a:t>
            </a:r>
            <a:endParaRPr lang="lv-LV" sz="1100" b="0" i="0">
              <a:effectLst/>
              <a:latin typeface="Arial" panose="020B0604020202020204" pitchFamily="34" charset="0"/>
            </a:endParaRPr>
          </a:p>
        </p:txBody>
      </p:sp>
      <p:sp>
        <p:nvSpPr>
          <p:cNvPr id="52" name="Freeform 50">
            <a:extLst>
              <a:ext uri="{FF2B5EF4-FFF2-40B4-BE49-F238E27FC236}">
                <a16:creationId xmlns:a16="http://schemas.microsoft.com/office/drawing/2014/main" id="{F7DD9070-AFBA-209D-AA31-2A5A758289ED}"/>
              </a:ext>
            </a:extLst>
          </p:cNvPr>
          <p:cNvSpPr>
            <a:spLocks noChangeAspect="1"/>
          </p:cNvSpPr>
          <p:nvPr/>
        </p:nvSpPr>
        <p:spPr bwMode="auto">
          <a:xfrm>
            <a:off x="679079" y="564250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Tree>
    <p:extLst>
      <p:ext uri="{BB962C8B-B14F-4D97-AF65-F5344CB8AC3E}">
        <p14:creationId xmlns:p14="http://schemas.microsoft.com/office/powerpoint/2010/main" val="1613844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B7375F1-2B4C-7514-4880-078B51275F64}"/>
              </a:ext>
            </a:extLst>
          </p:cNvPr>
          <p:cNvGraphicFramePr>
            <a:graphicFrameLocks noChangeAspect="1"/>
          </p:cNvGraphicFramePr>
          <p:nvPr>
            <p:custDataLst>
              <p:tags r:id="rId1"/>
            </p:custDataLst>
            <p:extLst>
              <p:ext uri="{D42A27DB-BD31-4B8C-83A1-F6EECF244321}">
                <p14:modId xmlns:p14="http://schemas.microsoft.com/office/powerpoint/2010/main" val="3224627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AB7375F1-2B4C-7514-4880-078B51275F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9B864A2D-CE08-25FC-B3B0-290F41A7D5F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42911" y="4402207"/>
            <a:ext cx="11312524"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06175" cy="1387274"/>
          </a:xfrm>
        </p:spPr>
        <p:txBody>
          <a:bodyPr vert="horz">
            <a:normAutofit/>
          </a:bodyPr>
          <a:lstStyle/>
          <a:p>
            <a:r>
              <a:rPr lang="en-GB" err="1"/>
              <a:t>Satur</a:t>
            </a:r>
            <a:r>
              <a:rPr lang="lv-LV"/>
              <a:t>a </a:t>
            </a:r>
            <a:r>
              <a:rPr lang="en-GB" err="1"/>
              <a:t>rādītājs</a:t>
            </a:r>
            <a:endParaRPr lang="en-GB"/>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3</a:t>
            </a:fld>
            <a:endParaRPr lang="en-GB"/>
          </a:p>
        </p:txBody>
      </p:sp>
      <p:sp>
        <p:nvSpPr>
          <p:cNvPr id="11" name="Rectangle 10">
            <a:extLst>
              <a:ext uri="{FF2B5EF4-FFF2-40B4-BE49-F238E27FC236}">
                <a16:creationId xmlns:a16="http://schemas.microsoft.com/office/drawing/2014/main" id="{F6E3DD60-4A42-FD12-ECB9-84B0541B4361}"/>
              </a:ext>
            </a:extLst>
          </p:cNvPr>
          <p:cNvSpPr/>
          <p:nvPr/>
        </p:nvSpPr>
        <p:spPr>
          <a:xfrm>
            <a:off x="442913" y="955542"/>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11312124"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6.1. Rīcība dabas katastrofu gadījumā</a:t>
            </a:r>
          </a:p>
          <a:p>
            <a:pPr>
              <a:spcAft>
                <a:spcPts val="600"/>
              </a:spcAft>
            </a:pPr>
            <a:r>
              <a:rPr lang="lv-LV" sz="1600">
                <a:cs typeface="Arial"/>
              </a:rPr>
              <a:t>6.2. Rīcība antropogēno katastrofu gadījumā</a:t>
            </a:r>
          </a:p>
          <a:p>
            <a:pPr>
              <a:spcAft>
                <a:spcPts val="600"/>
              </a:spcAft>
            </a:pPr>
            <a:r>
              <a:rPr lang="lv-LV" sz="1600">
                <a:cs typeface="Arial"/>
              </a:rPr>
              <a:t>6.3. Individuālā noturība</a:t>
            </a:r>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7AE41A81-5DA9-3D29-3038-84D54EDD521C}"/>
              </a:ext>
            </a:extLst>
          </p:cNvPr>
          <p:cNvGraphicFramePr>
            <a:graphicFrameLocks noChangeAspect="1"/>
          </p:cNvGraphicFramePr>
          <p:nvPr>
            <p:custDataLst>
              <p:tags r:id="rId1"/>
            </p:custDataLst>
            <p:extLst>
              <p:ext uri="{D42A27DB-BD31-4B8C-83A1-F6EECF244321}">
                <p14:modId xmlns:p14="http://schemas.microsoft.com/office/powerpoint/2010/main" val="973891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1" name="think-cell data - do not delete" hidden="1">
                        <a:extLst>
                          <a:ext uri="{FF2B5EF4-FFF2-40B4-BE49-F238E27FC236}">
                            <a16:creationId xmlns:a16="http://schemas.microsoft.com/office/drawing/2014/main" id="{7AE41A81-5DA9-3D29-3038-84D54EDD52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4313545E-2120-F08C-5E8F-081952269536}"/>
              </a:ext>
            </a:extLst>
          </p:cNvPr>
          <p:cNvSpPr/>
          <p:nvPr/>
        </p:nvSpPr>
        <p:spPr>
          <a:xfrm>
            <a:off x="442914" y="2493044"/>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Lietas, kas jāņem līdzi ilgstošai evakuācijai:</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Ilgstošas evakuācijas gadījumā nepieciešamās lietas un piederumi</a:t>
            </a:r>
            <a:br>
              <a:rPr lang="lv-LV"/>
            </a:b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0</a:t>
            </a:fld>
            <a:endParaRPr lang="en-GB"/>
          </a:p>
        </p:txBody>
      </p:sp>
      <p:sp>
        <p:nvSpPr>
          <p:cNvPr id="7" name="Rectangle 6">
            <a:extLst>
              <a:ext uri="{FF2B5EF4-FFF2-40B4-BE49-F238E27FC236}">
                <a16:creationId xmlns:a16="http://schemas.microsoft.com/office/drawing/2014/main" id="{58051A40-6FB2-D129-6018-7981771593EF}"/>
              </a:ext>
            </a:extLst>
          </p:cNvPr>
          <p:cNvSpPr/>
          <p:nvPr/>
        </p:nvSpPr>
        <p:spPr>
          <a:xfrm>
            <a:off x="442913" y="1823561"/>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chorCtr="0">
            <a:noAutofit/>
          </a:bodyPr>
          <a:lstStyle/>
          <a:p>
            <a:r>
              <a:rPr lang="lv-LV" sz="1200" b="1">
                <a:solidFill>
                  <a:schemeClr val="bg1"/>
                </a:solidFill>
                <a:latin typeface="Arial" panose="020B0604020202020204" pitchFamily="34" charset="0"/>
              </a:rPr>
              <a:t>Tās ir lietas, kas cilvēkam vai ģimenei būs nepieciešamas ilgstošas un paredzamas evakuācijas, kā arī komunālo pakalpojumu  – gāzes, elektrības, ūdens – padeves pārtraukuma gadījumā.</a:t>
            </a:r>
            <a:endParaRPr lang="lv-LV" sz="1200" b="1" dirty="0">
              <a:solidFill>
                <a:schemeClr val="bg1"/>
              </a:solidFill>
              <a:latin typeface="Arial" panose="020B0604020202020204" pitchFamily="34" charset="0"/>
            </a:endParaRPr>
          </a:p>
        </p:txBody>
      </p:sp>
      <p:grpSp>
        <p:nvGrpSpPr>
          <p:cNvPr id="93" name="Group 92">
            <a:extLst>
              <a:ext uri="{FF2B5EF4-FFF2-40B4-BE49-F238E27FC236}">
                <a16:creationId xmlns:a16="http://schemas.microsoft.com/office/drawing/2014/main" id="{B04A6C52-F7D3-9FFE-ACB7-A76F83739FEE}"/>
              </a:ext>
            </a:extLst>
          </p:cNvPr>
          <p:cNvGrpSpPr/>
          <p:nvPr/>
        </p:nvGrpSpPr>
        <p:grpSpPr>
          <a:xfrm>
            <a:off x="11102199" y="2493044"/>
            <a:ext cx="646888" cy="576000"/>
            <a:chOff x="5269725" y="2493044"/>
            <a:chExt cx="646888" cy="576000"/>
          </a:xfrm>
        </p:grpSpPr>
        <p:sp>
          <p:nvSpPr>
            <p:cNvPr id="12" name="Rectangle 11">
              <a:extLst>
                <a:ext uri="{FF2B5EF4-FFF2-40B4-BE49-F238E27FC236}">
                  <a16:creationId xmlns:a16="http://schemas.microsoft.com/office/drawing/2014/main" id="{531EC6BC-6224-CC85-15D9-1F663C792AFF}"/>
                </a:ext>
              </a:extLst>
            </p:cNvPr>
            <p:cNvSpPr/>
            <p:nvPr/>
          </p:nvSpPr>
          <p:spPr>
            <a:xfrm>
              <a:off x="5340613" y="2493044"/>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0" name="Google Shape;778;p79">
              <a:extLst>
                <a:ext uri="{FF2B5EF4-FFF2-40B4-BE49-F238E27FC236}">
                  <a16:creationId xmlns:a16="http://schemas.microsoft.com/office/drawing/2014/main" id="{9D5016DD-E913-97A3-4941-33880B1D229C}"/>
                </a:ext>
              </a:extLst>
            </p:cNvPr>
            <p:cNvSpPr/>
            <p:nvPr/>
          </p:nvSpPr>
          <p:spPr>
            <a:xfrm>
              <a:off x="5448432" y="2600863"/>
              <a:ext cx="360363" cy="360363"/>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2" name="Rectangle 31">
              <a:extLst>
                <a:ext uri="{FF2B5EF4-FFF2-40B4-BE49-F238E27FC236}">
                  <a16:creationId xmlns:a16="http://schemas.microsoft.com/office/drawing/2014/main" id="{6A4FD6DC-E4C1-D858-E054-0A05D8524AC5}"/>
                </a:ext>
              </a:extLst>
            </p:cNvPr>
            <p:cNvSpPr/>
            <p:nvPr/>
          </p:nvSpPr>
          <p:spPr>
            <a:xfrm>
              <a:off x="5269725" y="2493044"/>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51" name="TextBox 50">
            <a:extLst>
              <a:ext uri="{FF2B5EF4-FFF2-40B4-BE49-F238E27FC236}">
                <a16:creationId xmlns:a16="http://schemas.microsoft.com/office/drawing/2014/main" id="{AF206590-85C6-978A-0EA2-5D58ECD8D4AF}"/>
              </a:ext>
            </a:extLst>
          </p:cNvPr>
          <p:cNvSpPr txBox="1"/>
          <p:nvPr/>
        </p:nvSpPr>
        <p:spPr>
          <a:xfrm>
            <a:off x="442913" y="6235092"/>
            <a:ext cx="37589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6">
                  <a:extLst>
                    <a:ext uri="{A12FA001-AC4F-418D-AE19-62706E023703}">
                      <ahyp:hlinkClr xmlns:ahyp="http://schemas.microsoft.com/office/drawing/2018/hyperlinkcolor" val="tx"/>
                    </a:ext>
                  </a:extLst>
                </a:hlinkClick>
              </a:rPr>
              <a:t>Evakuācija un ārkārtas gadījumu soma</a:t>
            </a:r>
            <a:endParaRPr lang="lv-LV" sz="1100" b="0" i="0">
              <a:effectLst/>
              <a:latin typeface="Arial" panose="020B0604020202020204" pitchFamily="34" charset="0"/>
            </a:endParaRPr>
          </a:p>
        </p:txBody>
      </p:sp>
      <p:sp>
        <p:nvSpPr>
          <p:cNvPr id="52" name="Freeform 50">
            <a:extLst>
              <a:ext uri="{FF2B5EF4-FFF2-40B4-BE49-F238E27FC236}">
                <a16:creationId xmlns:a16="http://schemas.microsoft.com/office/drawing/2014/main" id="{F7DD9070-AFBA-209D-AA31-2A5A758289ED}"/>
              </a:ext>
            </a:extLst>
          </p:cNvPr>
          <p:cNvSpPr>
            <a:spLocks noChangeAspect="1"/>
          </p:cNvSpPr>
          <p:nvPr/>
        </p:nvSpPr>
        <p:spPr bwMode="auto">
          <a:xfrm>
            <a:off x="553441" y="635063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 name="Group 2">
            <a:extLst>
              <a:ext uri="{FF2B5EF4-FFF2-40B4-BE49-F238E27FC236}">
                <a16:creationId xmlns:a16="http://schemas.microsoft.com/office/drawing/2014/main" id="{53A703A3-3975-F6E3-8DB1-7F94A02DBDD4}"/>
              </a:ext>
            </a:extLst>
          </p:cNvPr>
          <p:cNvGrpSpPr/>
          <p:nvPr/>
        </p:nvGrpSpPr>
        <p:grpSpPr>
          <a:xfrm>
            <a:off x="9641294" y="157007"/>
            <a:ext cx="2107794" cy="220267"/>
            <a:chOff x="9641294" y="157007"/>
            <a:chExt cx="2107794" cy="220267"/>
          </a:xfrm>
        </p:grpSpPr>
        <p:sp>
          <p:nvSpPr>
            <p:cNvPr id="4" name="Rectangle 3">
              <a:extLst>
                <a:ext uri="{FF2B5EF4-FFF2-40B4-BE49-F238E27FC236}">
                  <a16:creationId xmlns:a16="http://schemas.microsoft.com/office/drawing/2014/main" id="{7A057D5A-FB41-71BC-5F1C-4F16A5BE9ACD}"/>
                </a:ext>
              </a:extLst>
            </p:cNvPr>
            <p:cNvSpPr/>
            <p:nvPr/>
          </p:nvSpPr>
          <p:spPr>
            <a:xfrm>
              <a:off x="10366138" y="159786"/>
              <a:ext cx="138295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Individuālā</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noturība</a:t>
              </a:r>
              <a:endParaRPr kumimoji="0" lang="en-US"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16D96229-3565-0907-A705-33C828E6BA91}"/>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E8916042-AEE4-D99E-5A98-71E3E6276A8C}"/>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586B873D-124C-E8E8-8935-0CFFC59FFCBC}"/>
                </a:ext>
              </a:extLst>
            </p:cNvPr>
            <p:cNvSpPr/>
            <p:nvPr/>
          </p:nvSpPr>
          <p:spPr>
            <a:xfrm>
              <a:off x="10124522"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grpSp>
      <p:cxnSp>
        <p:nvCxnSpPr>
          <p:cNvPr id="31" name="Straight Connector 30">
            <a:extLst>
              <a:ext uri="{FF2B5EF4-FFF2-40B4-BE49-F238E27FC236}">
                <a16:creationId xmlns:a16="http://schemas.microsoft.com/office/drawing/2014/main" id="{2642ED8E-F84F-A662-AE2F-E1A8A0D18A3F}"/>
              </a:ext>
            </a:extLst>
          </p:cNvPr>
          <p:cNvCxnSpPr>
            <a:cxnSpLocks/>
          </p:cNvCxnSpPr>
          <p:nvPr/>
        </p:nvCxnSpPr>
        <p:spPr>
          <a:xfrm>
            <a:off x="1089026" y="3634503"/>
            <a:ext cx="482758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3" name="Straight Connector 32">
            <a:extLst>
              <a:ext uri="{FF2B5EF4-FFF2-40B4-BE49-F238E27FC236}">
                <a16:creationId xmlns:a16="http://schemas.microsoft.com/office/drawing/2014/main" id="{F8A5A807-6B2C-833F-AAFD-6ED8724B1E7C}"/>
              </a:ext>
            </a:extLst>
          </p:cNvPr>
          <p:cNvCxnSpPr>
            <a:cxnSpLocks/>
          </p:cNvCxnSpPr>
          <p:nvPr/>
        </p:nvCxnSpPr>
        <p:spPr>
          <a:xfrm>
            <a:off x="1089025" y="4148587"/>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A5C9FF78-E511-95A4-9004-7E3E4FAB9DFF}"/>
              </a:ext>
            </a:extLst>
          </p:cNvPr>
          <p:cNvCxnSpPr>
            <a:cxnSpLocks/>
          </p:cNvCxnSpPr>
          <p:nvPr/>
        </p:nvCxnSpPr>
        <p:spPr>
          <a:xfrm>
            <a:off x="1089025" y="4667005"/>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DECC24C5-1827-E754-DC4D-3A64724DA4B2}"/>
              </a:ext>
            </a:extLst>
          </p:cNvPr>
          <p:cNvCxnSpPr>
            <a:cxnSpLocks/>
          </p:cNvCxnSpPr>
          <p:nvPr/>
        </p:nvCxnSpPr>
        <p:spPr>
          <a:xfrm>
            <a:off x="1089025" y="5181659"/>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5" name="Group 24">
            <a:extLst>
              <a:ext uri="{FF2B5EF4-FFF2-40B4-BE49-F238E27FC236}">
                <a16:creationId xmlns:a16="http://schemas.microsoft.com/office/drawing/2014/main" id="{F3CE1404-E8EF-C937-E13F-019EF1A52243}"/>
              </a:ext>
            </a:extLst>
          </p:cNvPr>
          <p:cNvGrpSpPr/>
          <p:nvPr/>
        </p:nvGrpSpPr>
        <p:grpSpPr>
          <a:xfrm>
            <a:off x="442914" y="3675645"/>
            <a:ext cx="5412175" cy="431800"/>
            <a:chOff x="442914" y="3678822"/>
            <a:chExt cx="5412175" cy="431800"/>
          </a:xfrm>
        </p:grpSpPr>
        <p:sp>
          <p:nvSpPr>
            <p:cNvPr id="37" name="Rectangle 36">
              <a:extLst>
                <a:ext uri="{FF2B5EF4-FFF2-40B4-BE49-F238E27FC236}">
                  <a16:creationId xmlns:a16="http://schemas.microsoft.com/office/drawing/2014/main" id="{F8DA8802-9BC8-065F-5AA6-BD78F056BC7A}"/>
                </a:ext>
              </a:extLst>
            </p:cNvPr>
            <p:cNvSpPr/>
            <p:nvPr/>
          </p:nvSpPr>
          <p:spPr>
            <a:xfrm>
              <a:off x="1089611" y="3697078"/>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Neliela naudas summa</a:t>
              </a:r>
              <a:endParaRPr lang="lv-LV" sz="1400" b="0" i="0">
                <a:solidFill>
                  <a:schemeClr val="tx1"/>
                </a:solidFill>
                <a:effectLst/>
              </a:endParaRPr>
            </a:p>
          </p:txBody>
        </p:sp>
        <p:sp>
          <p:nvSpPr>
            <p:cNvPr id="10" name="Rectangle 9">
              <a:extLst>
                <a:ext uri="{FF2B5EF4-FFF2-40B4-BE49-F238E27FC236}">
                  <a16:creationId xmlns:a16="http://schemas.microsoft.com/office/drawing/2014/main" id="{30369542-0003-0EBC-A006-37562C74A95C}"/>
                </a:ext>
              </a:extLst>
            </p:cNvPr>
            <p:cNvSpPr/>
            <p:nvPr/>
          </p:nvSpPr>
          <p:spPr>
            <a:xfrm>
              <a:off x="442914" y="3678822"/>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9" name="L-Shape 28">
              <a:extLst>
                <a:ext uri="{FF2B5EF4-FFF2-40B4-BE49-F238E27FC236}">
                  <a16:creationId xmlns:a16="http://schemas.microsoft.com/office/drawing/2014/main" id="{330A85DF-C2A0-C01C-15CD-4DDC477E2C37}"/>
                </a:ext>
              </a:extLst>
            </p:cNvPr>
            <p:cNvSpPr/>
            <p:nvPr/>
          </p:nvSpPr>
          <p:spPr>
            <a:xfrm rot="13500000">
              <a:off x="577723" y="375833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grpSp>
        <p:nvGrpSpPr>
          <p:cNvPr id="23" name="Group 22">
            <a:extLst>
              <a:ext uri="{FF2B5EF4-FFF2-40B4-BE49-F238E27FC236}">
                <a16:creationId xmlns:a16="http://schemas.microsoft.com/office/drawing/2014/main" id="{8E6C46A5-82C3-22D2-8502-D8A0EFDE76CC}"/>
              </a:ext>
            </a:extLst>
          </p:cNvPr>
          <p:cNvGrpSpPr/>
          <p:nvPr/>
        </p:nvGrpSpPr>
        <p:grpSpPr>
          <a:xfrm>
            <a:off x="442914" y="4708717"/>
            <a:ext cx="5412175" cy="431800"/>
            <a:chOff x="442914" y="4713344"/>
            <a:chExt cx="5412175" cy="431800"/>
          </a:xfrm>
        </p:grpSpPr>
        <p:sp>
          <p:nvSpPr>
            <p:cNvPr id="43" name="Rectangle 42">
              <a:extLst>
                <a:ext uri="{FF2B5EF4-FFF2-40B4-BE49-F238E27FC236}">
                  <a16:creationId xmlns:a16="http://schemas.microsoft.com/office/drawing/2014/main" id="{196EC982-36C1-885A-26A4-7ABFE845ED01}"/>
                </a:ext>
              </a:extLst>
            </p:cNvPr>
            <p:cNvSpPr/>
            <p:nvPr/>
          </p:nvSpPr>
          <p:spPr>
            <a:xfrm>
              <a:off x="1089611" y="4731600"/>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rgbClr val="212529"/>
                  </a:solidFill>
                </a:rPr>
                <a:t>Daudzfunkcionāls saliekamais nazis, karote,</a:t>
              </a:r>
              <a:br>
                <a:rPr lang="en-US" sz="1400">
                  <a:solidFill>
                    <a:srgbClr val="212529"/>
                  </a:solidFill>
                </a:rPr>
              </a:br>
              <a:r>
                <a:rPr lang="lv-LV" sz="1400">
                  <a:solidFill>
                    <a:srgbClr val="212529"/>
                  </a:solidFill>
                </a:rPr>
                <a:t>neplīstoša bļodiņa un krūzīte</a:t>
              </a:r>
              <a:endParaRPr lang="lv-LV" sz="1400" b="0" i="0">
                <a:solidFill>
                  <a:srgbClr val="212529"/>
                </a:solidFill>
                <a:effectLst/>
              </a:endParaRPr>
            </a:p>
          </p:txBody>
        </p:sp>
        <p:sp>
          <p:nvSpPr>
            <p:cNvPr id="58" name="Rectangle 57">
              <a:extLst>
                <a:ext uri="{FF2B5EF4-FFF2-40B4-BE49-F238E27FC236}">
                  <a16:creationId xmlns:a16="http://schemas.microsoft.com/office/drawing/2014/main" id="{E0C3246F-615C-E365-37FF-FF0E4F7175ED}"/>
                </a:ext>
              </a:extLst>
            </p:cNvPr>
            <p:cNvSpPr/>
            <p:nvPr/>
          </p:nvSpPr>
          <p:spPr>
            <a:xfrm>
              <a:off x="442914" y="4713344"/>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9" name="L-Shape 58">
              <a:extLst>
                <a:ext uri="{FF2B5EF4-FFF2-40B4-BE49-F238E27FC236}">
                  <a16:creationId xmlns:a16="http://schemas.microsoft.com/office/drawing/2014/main" id="{EDE5B762-F74B-82FD-AAB4-0754A83C5910}"/>
                </a:ext>
              </a:extLst>
            </p:cNvPr>
            <p:cNvSpPr/>
            <p:nvPr/>
          </p:nvSpPr>
          <p:spPr>
            <a:xfrm rot="13500000">
              <a:off x="577723" y="47928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grpSp>
        <p:nvGrpSpPr>
          <p:cNvPr id="24" name="Group 23">
            <a:extLst>
              <a:ext uri="{FF2B5EF4-FFF2-40B4-BE49-F238E27FC236}">
                <a16:creationId xmlns:a16="http://schemas.microsoft.com/office/drawing/2014/main" id="{DD940420-DE12-D0FB-7382-2876DCAD34FA}"/>
              </a:ext>
            </a:extLst>
          </p:cNvPr>
          <p:cNvGrpSpPr/>
          <p:nvPr/>
        </p:nvGrpSpPr>
        <p:grpSpPr>
          <a:xfrm>
            <a:off x="442914" y="4192181"/>
            <a:ext cx="5412175" cy="431800"/>
            <a:chOff x="442914" y="4196083"/>
            <a:chExt cx="5412175" cy="431800"/>
          </a:xfrm>
        </p:grpSpPr>
        <p:sp>
          <p:nvSpPr>
            <p:cNvPr id="39" name="Rectangle 38">
              <a:extLst>
                <a:ext uri="{FF2B5EF4-FFF2-40B4-BE49-F238E27FC236}">
                  <a16:creationId xmlns:a16="http://schemas.microsoft.com/office/drawing/2014/main" id="{0EF24B69-F68A-AA73-E401-29E429809714}"/>
                </a:ext>
              </a:extLst>
            </p:cNvPr>
            <p:cNvSpPr/>
            <p:nvPr/>
          </p:nvSpPr>
          <p:spPr>
            <a:xfrm>
              <a:off x="1089611" y="4214339"/>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Portatīvais radioaparāts, sērkociņi vai šķiltavas,</a:t>
              </a:r>
              <a:br>
                <a:rPr lang="en-US" sz="1400">
                  <a:solidFill>
                    <a:schemeClr val="tx1"/>
                  </a:solidFill>
                </a:rPr>
              </a:br>
              <a:r>
                <a:rPr lang="lv-LV" sz="1400">
                  <a:solidFill>
                    <a:schemeClr val="tx1"/>
                  </a:solidFill>
                </a:rPr>
                <a:t>lukturītis, baterijas</a:t>
              </a:r>
              <a:endParaRPr lang="lv-LV" sz="1400" b="0" i="0">
                <a:solidFill>
                  <a:schemeClr val="tx1"/>
                </a:solidFill>
                <a:effectLst/>
              </a:endParaRPr>
            </a:p>
          </p:txBody>
        </p:sp>
        <p:sp>
          <p:nvSpPr>
            <p:cNvPr id="73" name="Rectangle 72">
              <a:extLst>
                <a:ext uri="{FF2B5EF4-FFF2-40B4-BE49-F238E27FC236}">
                  <a16:creationId xmlns:a16="http://schemas.microsoft.com/office/drawing/2014/main" id="{CA994AF4-2D0C-4B8D-93C4-D791B69295F8}"/>
                </a:ext>
              </a:extLst>
            </p:cNvPr>
            <p:cNvSpPr/>
            <p:nvPr/>
          </p:nvSpPr>
          <p:spPr>
            <a:xfrm>
              <a:off x="442914" y="4196083"/>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9" name="L-Shape 78">
              <a:extLst>
                <a:ext uri="{FF2B5EF4-FFF2-40B4-BE49-F238E27FC236}">
                  <a16:creationId xmlns:a16="http://schemas.microsoft.com/office/drawing/2014/main" id="{5C41B513-01DA-5170-D34B-9EAF5A764960}"/>
                </a:ext>
              </a:extLst>
            </p:cNvPr>
            <p:cNvSpPr/>
            <p:nvPr/>
          </p:nvSpPr>
          <p:spPr>
            <a:xfrm rot="13500000">
              <a:off x="577723" y="427559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grpSp>
        <p:nvGrpSpPr>
          <p:cNvPr id="21" name="Group 20">
            <a:extLst>
              <a:ext uri="{FF2B5EF4-FFF2-40B4-BE49-F238E27FC236}">
                <a16:creationId xmlns:a16="http://schemas.microsoft.com/office/drawing/2014/main" id="{EB583090-5E44-F85A-368D-217C5208D940}"/>
              </a:ext>
            </a:extLst>
          </p:cNvPr>
          <p:cNvGrpSpPr/>
          <p:nvPr/>
        </p:nvGrpSpPr>
        <p:grpSpPr>
          <a:xfrm>
            <a:off x="442914" y="5225253"/>
            <a:ext cx="5412175" cy="431800"/>
            <a:chOff x="442914" y="5230605"/>
            <a:chExt cx="5412175" cy="431800"/>
          </a:xfrm>
        </p:grpSpPr>
        <p:sp>
          <p:nvSpPr>
            <p:cNvPr id="49" name="Rectangle 48">
              <a:extLst>
                <a:ext uri="{FF2B5EF4-FFF2-40B4-BE49-F238E27FC236}">
                  <a16:creationId xmlns:a16="http://schemas.microsoft.com/office/drawing/2014/main" id="{FB6F852C-2CA8-C4D2-B095-D1AECCF1F7AB}"/>
                </a:ext>
              </a:extLst>
            </p:cNvPr>
            <p:cNvSpPr/>
            <p:nvPr/>
          </p:nvSpPr>
          <p:spPr>
            <a:xfrm>
              <a:off x="1089611" y="5248861"/>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rgbClr val="212529"/>
                  </a:solidFill>
                </a:rPr>
                <a:t>Līmlente, aukla, diegs, adata, šķēres,</a:t>
              </a:r>
              <a:br>
                <a:rPr lang="en-US" sz="1400">
                  <a:solidFill>
                    <a:srgbClr val="212529"/>
                  </a:solidFill>
                </a:rPr>
              </a:br>
              <a:r>
                <a:rPr lang="lv-LV" sz="1400">
                  <a:solidFill>
                    <a:srgbClr val="212529"/>
                  </a:solidFill>
                </a:rPr>
                <a:t>papīrs un rakstāmpiederumi</a:t>
              </a:r>
              <a:endParaRPr lang="lv-LV" sz="1400" b="0" i="0">
                <a:solidFill>
                  <a:srgbClr val="212529"/>
                </a:solidFill>
                <a:effectLst/>
              </a:endParaRPr>
            </a:p>
          </p:txBody>
        </p:sp>
        <p:sp>
          <p:nvSpPr>
            <p:cNvPr id="83" name="Rectangle 82">
              <a:extLst>
                <a:ext uri="{FF2B5EF4-FFF2-40B4-BE49-F238E27FC236}">
                  <a16:creationId xmlns:a16="http://schemas.microsoft.com/office/drawing/2014/main" id="{1AB6858B-E722-166E-7C56-C66F44C277B0}"/>
                </a:ext>
              </a:extLst>
            </p:cNvPr>
            <p:cNvSpPr/>
            <p:nvPr/>
          </p:nvSpPr>
          <p:spPr>
            <a:xfrm>
              <a:off x="442914" y="5230605"/>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F2DAFE76-FDD0-715B-6FEA-8868F9CA2D3E}"/>
                </a:ext>
              </a:extLst>
            </p:cNvPr>
            <p:cNvSpPr/>
            <p:nvPr/>
          </p:nvSpPr>
          <p:spPr>
            <a:xfrm rot="13500000">
              <a:off x="577723" y="53101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grpSp>
        <p:nvGrpSpPr>
          <p:cNvPr id="26" name="Group 25">
            <a:extLst>
              <a:ext uri="{FF2B5EF4-FFF2-40B4-BE49-F238E27FC236}">
                <a16:creationId xmlns:a16="http://schemas.microsoft.com/office/drawing/2014/main" id="{90AA2538-2305-EDCA-77C9-0B33189CF8EE}"/>
              </a:ext>
            </a:extLst>
          </p:cNvPr>
          <p:cNvGrpSpPr/>
          <p:nvPr/>
        </p:nvGrpSpPr>
        <p:grpSpPr>
          <a:xfrm>
            <a:off x="442914" y="3160964"/>
            <a:ext cx="5412175" cy="432397"/>
            <a:chOff x="442914" y="3160964"/>
            <a:chExt cx="5412175" cy="432397"/>
          </a:xfrm>
        </p:grpSpPr>
        <p:sp>
          <p:nvSpPr>
            <p:cNvPr id="22" name="Rectangle 21">
              <a:extLst>
                <a:ext uri="{FF2B5EF4-FFF2-40B4-BE49-F238E27FC236}">
                  <a16:creationId xmlns:a16="http://schemas.microsoft.com/office/drawing/2014/main" id="{89375083-FFCA-9108-0E80-8EB60C92354F}"/>
                </a:ext>
              </a:extLst>
            </p:cNvPr>
            <p:cNvSpPr/>
            <p:nvPr/>
          </p:nvSpPr>
          <p:spPr>
            <a:xfrm>
              <a:off x="1089611" y="3179518"/>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Svarīgu dokumentu kopijas polietilēna iesaiņojumā</a:t>
              </a:r>
              <a:endParaRPr lang="lv-LV" sz="1400" b="0" i="0">
                <a:solidFill>
                  <a:schemeClr val="tx1"/>
                </a:solidFill>
                <a:effectLst/>
              </a:endParaRPr>
            </a:p>
          </p:txBody>
        </p:sp>
        <p:sp>
          <p:nvSpPr>
            <p:cNvPr id="88" name="Rectangle 87">
              <a:extLst>
                <a:ext uri="{FF2B5EF4-FFF2-40B4-BE49-F238E27FC236}">
                  <a16:creationId xmlns:a16="http://schemas.microsoft.com/office/drawing/2014/main" id="{604DCE03-7047-B174-CD36-FD4F8F4F19BA}"/>
                </a:ext>
              </a:extLst>
            </p:cNvPr>
            <p:cNvSpPr/>
            <p:nvPr/>
          </p:nvSpPr>
          <p:spPr>
            <a:xfrm>
              <a:off x="442914" y="3160964"/>
              <a:ext cx="576263" cy="43239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9" name="L-Shape 88">
              <a:extLst>
                <a:ext uri="{FF2B5EF4-FFF2-40B4-BE49-F238E27FC236}">
                  <a16:creationId xmlns:a16="http://schemas.microsoft.com/office/drawing/2014/main" id="{FFB17650-58E3-F18E-626D-88ECCE3A6CE2}"/>
                </a:ext>
              </a:extLst>
            </p:cNvPr>
            <p:cNvSpPr/>
            <p:nvPr/>
          </p:nvSpPr>
          <p:spPr>
            <a:xfrm rot="13500000">
              <a:off x="577723" y="324077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grpSp>
        <p:nvGrpSpPr>
          <p:cNvPr id="20" name="Group 19">
            <a:extLst>
              <a:ext uri="{FF2B5EF4-FFF2-40B4-BE49-F238E27FC236}">
                <a16:creationId xmlns:a16="http://schemas.microsoft.com/office/drawing/2014/main" id="{0EE1A477-258B-B84C-FAC2-7D9C29C9ED04}"/>
              </a:ext>
            </a:extLst>
          </p:cNvPr>
          <p:cNvGrpSpPr/>
          <p:nvPr/>
        </p:nvGrpSpPr>
        <p:grpSpPr>
          <a:xfrm>
            <a:off x="442914" y="5741792"/>
            <a:ext cx="5412175" cy="431800"/>
            <a:chOff x="442914" y="5747866"/>
            <a:chExt cx="5412175" cy="431800"/>
          </a:xfrm>
        </p:grpSpPr>
        <p:sp>
          <p:nvSpPr>
            <p:cNvPr id="62" name="Rectangle 61">
              <a:extLst>
                <a:ext uri="{FF2B5EF4-FFF2-40B4-BE49-F238E27FC236}">
                  <a16:creationId xmlns:a16="http://schemas.microsoft.com/office/drawing/2014/main" id="{00D0898C-B279-9C60-7C9B-6B939E7B10E9}"/>
                </a:ext>
              </a:extLst>
            </p:cNvPr>
            <p:cNvSpPr/>
            <p:nvPr/>
          </p:nvSpPr>
          <p:spPr>
            <a:xfrm>
              <a:off x="442914" y="5747866"/>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4" name="L-Shape 63">
              <a:extLst>
                <a:ext uri="{FF2B5EF4-FFF2-40B4-BE49-F238E27FC236}">
                  <a16:creationId xmlns:a16="http://schemas.microsoft.com/office/drawing/2014/main" id="{650DFA97-844F-56B9-30C0-608D239952BE}"/>
                </a:ext>
              </a:extLst>
            </p:cNvPr>
            <p:cNvSpPr/>
            <p:nvPr/>
          </p:nvSpPr>
          <p:spPr>
            <a:xfrm rot="13500000">
              <a:off x="577723" y="582737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sp>
          <p:nvSpPr>
            <p:cNvPr id="94" name="Rectangle 93">
              <a:extLst>
                <a:ext uri="{FF2B5EF4-FFF2-40B4-BE49-F238E27FC236}">
                  <a16:creationId xmlns:a16="http://schemas.microsoft.com/office/drawing/2014/main" id="{844902F8-8804-FE10-A6C6-3ED71D08ECAC}"/>
                </a:ext>
              </a:extLst>
            </p:cNvPr>
            <p:cNvSpPr/>
            <p:nvPr/>
          </p:nvSpPr>
          <p:spPr>
            <a:xfrm>
              <a:off x="1089611" y="5766122"/>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rgbClr val="212529"/>
                  </a:solidFill>
                </a:rPr>
                <a:t>Pirmās palīdzības aptieciņa</a:t>
              </a:r>
              <a:endParaRPr lang="lv-LV" sz="1400" b="0" i="0">
                <a:solidFill>
                  <a:srgbClr val="212529"/>
                </a:solidFill>
                <a:effectLst/>
              </a:endParaRPr>
            </a:p>
          </p:txBody>
        </p:sp>
      </p:grpSp>
      <p:cxnSp>
        <p:nvCxnSpPr>
          <p:cNvPr id="101" name="Straight Connector 100">
            <a:extLst>
              <a:ext uri="{FF2B5EF4-FFF2-40B4-BE49-F238E27FC236}">
                <a16:creationId xmlns:a16="http://schemas.microsoft.com/office/drawing/2014/main" id="{88C2E99A-18DB-9A53-206E-871A27FE7015}"/>
              </a:ext>
            </a:extLst>
          </p:cNvPr>
          <p:cNvCxnSpPr>
            <a:cxnSpLocks/>
          </p:cNvCxnSpPr>
          <p:nvPr/>
        </p:nvCxnSpPr>
        <p:spPr>
          <a:xfrm>
            <a:off x="1089025" y="5698195"/>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09" name="Straight Connector 108">
            <a:extLst>
              <a:ext uri="{FF2B5EF4-FFF2-40B4-BE49-F238E27FC236}">
                <a16:creationId xmlns:a16="http://schemas.microsoft.com/office/drawing/2014/main" id="{BC195710-7696-C6C7-2BCB-72CE1A57138D}"/>
              </a:ext>
            </a:extLst>
          </p:cNvPr>
          <p:cNvCxnSpPr>
            <a:cxnSpLocks/>
          </p:cNvCxnSpPr>
          <p:nvPr/>
        </p:nvCxnSpPr>
        <p:spPr>
          <a:xfrm>
            <a:off x="6927850" y="4148587"/>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10" name="Straight Connector 109">
            <a:extLst>
              <a:ext uri="{FF2B5EF4-FFF2-40B4-BE49-F238E27FC236}">
                <a16:creationId xmlns:a16="http://schemas.microsoft.com/office/drawing/2014/main" id="{7E976A40-50EB-BEF2-BF44-FE9FA5FBA96F}"/>
              </a:ext>
            </a:extLst>
          </p:cNvPr>
          <p:cNvCxnSpPr>
            <a:cxnSpLocks/>
          </p:cNvCxnSpPr>
          <p:nvPr/>
        </p:nvCxnSpPr>
        <p:spPr>
          <a:xfrm>
            <a:off x="6927850" y="4665123"/>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11" name="Straight Connector 110">
            <a:extLst>
              <a:ext uri="{FF2B5EF4-FFF2-40B4-BE49-F238E27FC236}">
                <a16:creationId xmlns:a16="http://schemas.microsoft.com/office/drawing/2014/main" id="{5F71369B-48D1-8403-55CC-C4529AD68ADE}"/>
              </a:ext>
            </a:extLst>
          </p:cNvPr>
          <p:cNvCxnSpPr>
            <a:cxnSpLocks/>
          </p:cNvCxnSpPr>
          <p:nvPr/>
        </p:nvCxnSpPr>
        <p:spPr>
          <a:xfrm>
            <a:off x="6927850" y="5181659"/>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5" name="Straight Connector 134">
            <a:extLst>
              <a:ext uri="{FF2B5EF4-FFF2-40B4-BE49-F238E27FC236}">
                <a16:creationId xmlns:a16="http://schemas.microsoft.com/office/drawing/2014/main" id="{8A8E4E97-CC90-5420-04AE-BEE820017E4F}"/>
              </a:ext>
            </a:extLst>
          </p:cNvPr>
          <p:cNvCxnSpPr>
            <a:cxnSpLocks/>
          </p:cNvCxnSpPr>
          <p:nvPr/>
        </p:nvCxnSpPr>
        <p:spPr>
          <a:xfrm>
            <a:off x="6927850" y="5698195"/>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8" name="Group 27">
            <a:extLst>
              <a:ext uri="{FF2B5EF4-FFF2-40B4-BE49-F238E27FC236}">
                <a16:creationId xmlns:a16="http://schemas.microsoft.com/office/drawing/2014/main" id="{B1E32F24-14AA-37E2-4A6F-011DA73BE2A0}"/>
              </a:ext>
            </a:extLst>
          </p:cNvPr>
          <p:cNvGrpSpPr/>
          <p:nvPr/>
        </p:nvGrpSpPr>
        <p:grpSpPr>
          <a:xfrm>
            <a:off x="6275388" y="3675645"/>
            <a:ext cx="5454498" cy="431800"/>
            <a:chOff x="6294307" y="3678822"/>
            <a:chExt cx="5454498" cy="431800"/>
          </a:xfrm>
        </p:grpSpPr>
        <p:sp>
          <p:nvSpPr>
            <p:cNvPr id="112" name="Rectangle 111">
              <a:extLst>
                <a:ext uri="{FF2B5EF4-FFF2-40B4-BE49-F238E27FC236}">
                  <a16:creationId xmlns:a16="http://schemas.microsoft.com/office/drawing/2014/main" id="{CE225DC7-E008-92B7-C53A-EF1DB5425A8E}"/>
                </a:ext>
              </a:extLst>
            </p:cNvPr>
            <p:cNvSpPr/>
            <p:nvPr/>
          </p:nvSpPr>
          <p:spPr>
            <a:xfrm>
              <a:off x="6982753" y="3697078"/>
              <a:ext cx="4766052"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Ērti apavi</a:t>
              </a:r>
            </a:p>
          </p:txBody>
        </p:sp>
        <p:sp>
          <p:nvSpPr>
            <p:cNvPr id="145" name="Rectangle 144">
              <a:extLst>
                <a:ext uri="{FF2B5EF4-FFF2-40B4-BE49-F238E27FC236}">
                  <a16:creationId xmlns:a16="http://schemas.microsoft.com/office/drawing/2014/main" id="{FEA0196F-BE95-27C5-83FA-816B4C71CC4D}"/>
                </a:ext>
              </a:extLst>
            </p:cNvPr>
            <p:cNvSpPr/>
            <p:nvPr/>
          </p:nvSpPr>
          <p:spPr>
            <a:xfrm>
              <a:off x="6294307" y="3678822"/>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46" name="L-Shape 145">
              <a:extLst>
                <a:ext uri="{FF2B5EF4-FFF2-40B4-BE49-F238E27FC236}">
                  <a16:creationId xmlns:a16="http://schemas.microsoft.com/office/drawing/2014/main" id="{33D36DDF-DE13-2813-C929-91B49749B619}"/>
                </a:ext>
              </a:extLst>
            </p:cNvPr>
            <p:cNvSpPr/>
            <p:nvPr/>
          </p:nvSpPr>
          <p:spPr>
            <a:xfrm rot="13500000">
              <a:off x="6429116" y="375833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grpSp>
        <p:nvGrpSpPr>
          <p:cNvPr id="36" name="Group 35">
            <a:extLst>
              <a:ext uri="{FF2B5EF4-FFF2-40B4-BE49-F238E27FC236}">
                <a16:creationId xmlns:a16="http://schemas.microsoft.com/office/drawing/2014/main" id="{CD0519B3-18B2-3940-A264-AB3D54BB4AEC}"/>
              </a:ext>
            </a:extLst>
          </p:cNvPr>
          <p:cNvGrpSpPr/>
          <p:nvPr/>
        </p:nvGrpSpPr>
        <p:grpSpPr>
          <a:xfrm>
            <a:off x="6275388" y="4708717"/>
            <a:ext cx="5454498" cy="431800"/>
            <a:chOff x="6294307" y="4713344"/>
            <a:chExt cx="5454498" cy="431800"/>
          </a:xfrm>
        </p:grpSpPr>
        <p:sp>
          <p:nvSpPr>
            <p:cNvPr id="114" name="Rectangle 113">
              <a:extLst>
                <a:ext uri="{FF2B5EF4-FFF2-40B4-BE49-F238E27FC236}">
                  <a16:creationId xmlns:a16="http://schemas.microsoft.com/office/drawing/2014/main" id="{C811D597-70F7-1779-21A3-651A58A939DA}"/>
                </a:ext>
              </a:extLst>
            </p:cNvPr>
            <p:cNvSpPr/>
            <p:nvPr/>
          </p:nvSpPr>
          <p:spPr>
            <a:xfrm>
              <a:off x="6982753" y="4731600"/>
              <a:ext cx="4766052"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rgbClr val="212529"/>
                  </a:solidFill>
                </a:rPr>
                <a:t>Higiēnas piederumi, dvielis, tualetes papīrs,</a:t>
              </a:r>
              <a:br>
                <a:rPr lang="en-US" sz="1400">
                  <a:solidFill>
                    <a:srgbClr val="212529"/>
                  </a:solidFill>
                </a:rPr>
              </a:br>
              <a:r>
                <a:rPr lang="lv-LV" sz="1400">
                  <a:solidFill>
                    <a:srgbClr val="212529"/>
                  </a:solidFill>
                </a:rPr>
                <a:t>vienreiz lietojamās salvetes</a:t>
              </a:r>
            </a:p>
          </p:txBody>
        </p:sp>
        <p:sp>
          <p:nvSpPr>
            <p:cNvPr id="147" name="Rectangle 146">
              <a:extLst>
                <a:ext uri="{FF2B5EF4-FFF2-40B4-BE49-F238E27FC236}">
                  <a16:creationId xmlns:a16="http://schemas.microsoft.com/office/drawing/2014/main" id="{0080CAF5-EFAA-8F52-EF9A-5153BBFBE12C}"/>
                </a:ext>
              </a:extLst>
            </p:cNvPr>
            <p:cNvSpPr/>
            <p:nvPr/>
          </p:nvSpPr>
          <p:spPr>
            <a:xfrm>
              <a:off x="6294307" y="4713344"/>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48" name="L-Shape 147">
              <a:extLst>
                <a:ext uri="{FF2B5EF4-FFF2-40B4-BE49-F238E27FC236}">
                  <a16:creationId xmlns:a16="http://schemas.microsoft.com/office/drawing/2014/main" id="{F65C1C29-24D7-2EA5-E06F-DFD7B3801DD6}"/>
                </a:ext>
              </a:extLst>
            </p:cNvPr>
            <p:cNvSpPr/>
            <p:nvPr/>
          </p:nvSpPr>
          <p:spPr>
            <a:xfrm rot="13500000">
              <a:off x="6429116" y="47928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grpSp>
        <p:nvGrpSpPr>
          <p:cNvPr id="40" name="Group 39">
            <a:extLst>
              <a:ext uri="{FF2B5EF4-FFF2-40B4-BE49-F238E27FC236}">
                <a16:creationId xmlns:a16="http://schemas.microsoft.com/office/drawing/2014/main" id="{875E3E33-87B3-F8A9-DA70-FD8467371B02}"/>
              </a:ext>
            </a:extLst>
          </p:cNvPr>
          <p:cNvGrpSpPr/>
          <p:nvPr/>
        </p:nvGrpSpPr>
        <p:grpSpPr>
          <a:xfrm>
            <a:off x="6275388" y="5741792"/>
            <a:ext cx="5454500" cy="431800"/>
            <a:chOff x="6294307" y="5747866"/>
            <a:chExt cx="5454500" cy="431800"/>
          </a:xfrm>
        </p:grpSpPr>
        <p:sp>
          <p:nvSpPr>
            <p:cNvPr id="134" name="Rectangle 133">
              <a:extLst>
                <a:ext uri="{FF2B5EF4-FFF2-40B4-BE49-F238E27FC236}">
                  <a16:creationId xmlns:a16="http://schemas.microsoft.com/office/drawing/2014/main" id="{EC10BD46-8FB2-8393-FEC4-880171E7053A}"/>
                </a:ext>
              </a:extLst>
            </p:cNvPr>
            <p:cNvSpPr/>
            <p:nvPr/>
          </p:nvSpPr>
          <p:spPr>
            <a:xfrm>
              <a:off x="6982753" y="5766122"/>
              <a:ext cx="476605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rgbClr val="212529"/>
                  </a:solidFill>
                </a:rPr>
                <a:t>Dzeramais ūdens</a:t>
              </a:r>
            </a:p>
          </p:txBody>
        </p:sp>
        <p:sp>
          <p:nvSpPr>
            <p:cNvPr id="149" name="Rectangle 148">
              <a:extLst>
                <a:ext uri="{FF2B5EF4-FFF2-40B4-BE49-F238E27FC236}">
                  <a16:creationId xmlns:a16="http://schemas.microsoft.com/office/drawing/2014/main" id="{35855442-2457-55F4-0452-5CC740315908}"/>
                </a:ext>
              </a:extLst>
            </p:cNvPr>
            <p:cNvSpPr/>
            <p:nvPr/>
          </p:nvSpPr>
          <p:spPr>
            <a:xfrm>
              <a:off x="6294307" y="5747866"/>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0" name="L-Shape 149">
              <a:extLst>
                <a:ext uri="{FF2B5EF4-FFF2-40B4-BE49-F238E27FC236}">
                  <a16:creationId xmlns:a16="http://schemas.microsoft.com/office/drawing/2014/main" id="{66CE9B33-23AB-C370-893E-885C2B8AC857}"/>
                </a:ext>
              </a:extLst>
            </p:cNvPr>
            <p:cNvSpPr/>
            <p:nvPr/>
          </p:nvSpPr>
          <p:spPr>
            <a:xfrm rot="13500000">
              <a:off x="6429116" y="582737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grpSp>
        <p:nvGrpSpPr>
          <p:cNvPr id="30" name="Group 29">
            <a:extLst>
              <a:ext uri="{FF2B5EF4-FFF2-40B4-BE49-F238E27FC236}">
                <a16:creationId xmlns:a16="http://schemas.microsoft.com/office/drawing/2014/main" id="{F64BAC4C-DA2D-C04B-A3D7-E83446974125}"/>
              </a:ext>
            </a:extLst>
          </p:cNvPr>
          <p:cNvGrpSpPr/>
          <p:nvPr/>
        </p:nvGrpSpPr>
        <p:grpSpPr>
          <a:xfrm>
            <a:off x="6275388" y="4192181"/>
            <a:ext cx="5454500" cy="431800"/>
            <a:chOff x="6294307" y="4196083"/>
            <a:chExt cx="5454500" cy="431800"/>
          </a:xfrm>
        </p:grpSpPr>
        <p:sp>
          <p:nvSpPr>
            <p:cNvPr id="113" name="Rectangle 112">
              <a:extLst>
                <a:ext uri="{FF2B5EF4-FFF2-40B4-BE49-F238E27FC236}">
                  <a16:creationId xmlns:a16="http://schemas.microsoft.com/office/drawing/2014/main" id="{1C8AA94D-6326-E1A4-9FD5-EEFABDA0A9E6}"/>
                </a:ext>
              </a:extLst>
            </p:cNvPr>
            <p:cNvSpPr/>
            <p:nvPr/>
          </p:nvSpPr>
          <p:spPr>
            <a:xfrm>
              <a:off x="6982753" y="4214339"/>
              <a:ext cx="476605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G</a:t>
              </a:r>
              <a:r>
                <a:rPr lang="fi-FI" sz="1400">
                  <a:solidFill>
                    <a:schemeClr val="tx1"/>
                  </a:solidFill>
                </a:rPr>
                <a:t>uļammais</a:t>
              </a:r>
              <a:r>
                <a:rPr lang="lv-LV" sz="1400">
                  <a:solidFill>
                    <a:schemeClr val="tx1"/>
                  </a:solidFill>
                </a:rPr>
                <a:t>s</a:t>
              </a:r>
              <a:r>
                <a:rPr lang="fi-FI" sz="1400">
                  <a:solidFill>
                    <a:schemeClr val="tx1"/>
                  </a:solidFill>
                </a:rPr>
                <a:t> vai seg</a:t>
              </a:r>
              <a:r>
                <a:rPr lang="lv-LV" sz="1400">
                  <a:solidFill>
                    <a:schemeClr val="tx1"/>
                  </a:solidFill>
                </a:rPr>
                <a:t>a</a:t>
              </a:r>
              <a:r>
                <a:rPr lang="fi-FI" sz="1400">
                  <a:solidFill>
                    <a:schemeClr val="tx1"/>
                  </a:solidFill>
                </a:rPr>
                <a:t>, tūristu paklājiņ</a:t>
              </a:r>
              <a:r>
                <a:rPr lang="lv-LV" sz="1400">
                  <a:solidFill>
                    <a:schemeClr val="tx1"/>
                  </a:solidFill>
                </a:rPr>
                <a:t>š</a:t>
              </a:r>
              <a:r>
                <a:rPr lang="fi-FI" sz="1400">
                  <a:solidFill>
                    <a:schemeClr val="tx1"/>
                  </a:solidFill>
                </a:rPr>
                <a:t>, vēlams – telt</a:t>
              </a:r>
              <a:r>
                <a:rPr lang="lv-LV" sz="1400">
                  <a:solidFill>
                    <a:schemeClr val="tx1"/>
                  </a:solidFill>
                </a:rPr>
                <a:t>s</a:t>
              </a:r>
            </a:p>
          </p:txBody>
        </p:sp>
        <p:sp>
          <p:nvSpPr>
            <p:cNvPr id="151" name="Rectangle 150">
              <a:extLst>
                <a:ext uri="{FF2B5EF4-FFF2-40B4-BE49-F238E27FC236}">
                  <a16:creationId xmlns:a16="http://schemas.microsoft.com/office/drawing/2014/main" id="{D9D06C68-9D59-46B0-4762-AB2451365F8C}"/>
                </a:ext>
              </a:extLst>
            </p:cNvPr>
            <p:cNvSpPr/>
            <p:nvPr/>
          </p:nvSpPr>
          <p:spPr>
            <a:xfrm>
              <a:off x="6294307" y="4196083"/>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2" name="L-Shape 151">
              <a:extLst>
                <a:ext uri="{FF2B5EF4-FFF2-40B4-BE49-F238E27FC236}">
                  <a16:creationId xmlns:a16="http://schemas.microsoft.com/office/drawing/2014/main" id="{22DB69AA-7D7C-AC8D-7DE1-99197C0DF9B8}"/>
                </a:ext>
              </a:extLst>
            </p:cNvPr>
            <p:cNvSpPr/>
            <p:nvPr/>
          </p:nvSpPr>
          <p:spPr>
            <a:xfrm rot="13500000">
              <a:off x="6429116" y="427559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grpSp>
        <p:nvGrpSpPr>
          <p:cNvPr id="38" name="Group 37">
            <a:extLst>
              <a:ext uri="{FF2B5EF4-FFF2-40B4-BE49-F238E27FC236}">
                <a16:creationId xmlns:a16="http://schemas.microsoft.com/office/drawing/2014/main" id="{6B8968CD-EBC5-8BBB-12E2-E8D038CF46D3}"/>
              </a:ext>
            </a:extLst>
          </p:cNvPr>
          <p:cNvGrpSpPr/>
          <p:nvPr/>
        </p:nvGrpSpPr>
        <p:grpSpPr>
          <a:xfrm>
            <a:off x="6275388" y="5225253"/>
            <a:ext cx="5454500" cy="431800"/>
            <a:chOff x="6294307" y="5230605"/>
            <a:chExt cx="5454500" cy="431800"/>
          </a:xfrm>
        </p:grpSpPr>
        <p:sp>
          <p:nvSpPr>
            <p:cNvPr id="115" name="Rectangle 114">
              <a:extLst>
                <a:ext uri="{FF2B5EF4-FFF2-40B4-BE49-F238E27FC236}">
                  <a16:creationId xmlns:a16="http://schemas.microsoft.com/office/drawing/2014/main" id="{C14EEC2A-B1B5-2F49-3BF1-0AE6DC6E5AF0}"/>
                </a:ext>
              </a:extLst>
            </p:cNvPr>
            <p:cNvSpPr/>
            <p:nvPr/>
          </p:nvSpPr>
          <p:spPr>
            <a:xfrm>
              <a:off x="6982753" y="5248861"/>
              <a:ext cx="476605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a:solidFill>
                    <a:srgbClr val="212529"/>
                  </a:solidFill>
                </a:rPr>
                <a:t>Pārtika, ko var lietot bez termiskas apstrādes</a:t>
              </a:r>
              <a:br>
                <a:rPr lang="en-US" sz="1400">
                  <a:solidFill>
                    <a:srgbClr val="212529"/>
                  </a:solidFill>
                </a:rPr>
              </a:br>
              <a:r>
                <a:rPr lang="lv-LV" sz="1400">
                  <a:solidFill>
                    <a:srgbClr val="212529"/>
                  </a:solidFill>
                </a:rPr>
                <a:t>un ar ilgu derīguma termiņu</a:t>
              </a:r>
            </a:p>
          </p:txBody>
        </p:sp>
        <p:sp>
          <p:nvSpPr>
            <p:cNvPr id="153" name="Rectangle 152">
              <a:extLst>
                <a:ext uri="{FF2B5EF4-FFF2-40B4-BE49-F238E27FC236}">
                  <a16:creationId xmlns:a16="http://schemas.microsoft.com/office/drawing/2014/main" id="{AFF62DC7-A18C-39D3-FC33-0607863B7E7F}"/>
                </a:ext>
              </a:extLst>
            </p:cNvPr>
            <p:cNvSpPr/>
            <p:nvPr/>
          </p:nvSpPr>
          <p:spPr>
            <a:xfrm>
              <a:off x="6294307" y="5230605"/>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4" name="L-Shape 153">
              <a:extLst>
                <a:ext uri="{FF2B5EF4-FFF2-40B4-BE49-F238E27FC236}">
                  <a16:creationId xmlns:a16="http://schemas.microsoft.com/office/drawing/2014/main" id="{849C1DEB-8F80-05F8-1E3B-1D75D978E205}"/>
                </a:ext>
              </a:extLst>
            </p:cNvPr>
            <p:cNvSpPr/>
            <p:nvPr/>
          </p:nvSpPr>
          <p:spPr>
            <a:xfrm rot="13500000">
              <a:off x="6429116" y="53101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grpSp>
        <p:nvGrpSpPr>
          <p:cNvPr id="27" name="Group 26">
            <a:extLst>
              <a:ext uri="{FF2B5EF4-FFF2-40B4-BE49-F238E27FC236}">
                <a16:creationId xmlns:a16="http://schemas.microsoft.com/office/drawing/2014/main" id="{F4E244C8-2586-B05C-DCD4-BC7E0201394E}"/>
              </a:ext>
            </a:extLst>
          </p:cNvPr>
          <p:cNvGrpSpPr/>
          <p:nvPr/>
        </p:nvGrpSpPr>
        <p:grpSpPr>
          <a:xfrm>
            <a:off x="6275388" y="3160964"/>
            <a:ext cx="5454781" cy="432397"/>
            <a:chOff x="6294307" y="3160964"/>
            <a:chExt cx="5454781" cy="432397"/>
          </a:xfrm>
        </p:grpSpPr>
        <p:sp>
          <p:nvSpPr>
            <p:cNvPr id="107" name="Rectangle 106">
              <a:extLst>
                <a:ext uri="{FF2B5EF4-FFF2-40B4-BE49-F238E27FC236}">
                  <a16:creationId xmlns:a16="http://schemas.microsoft.com/office/drawing/2014/main" id="{DDE0F37C-AEE2-8B34-A581-158D9D35DE81}"/>
                </a:ext>
              </a:extLst>
            </p:cNvPr>
            <p:cNvSpPr/>
            <p:nvPr/>
          </p:nvSpPr>
          <p:spPr>
            <a:xfrm>
              <a:off x="6983413" y="3179518"/>
              <a:ext cx="4765675"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Apģērbs, rezerves apakšveļa</a:t>
              </a:r>
            </a:p>
          </p:txBody>
        </p:sp>
        <p:sp>
          <p:nvSpPr>
            <p:cNvPr id="155" name="Rectangle 154">
              <a:extLst>
                <a:ext uri="{FF2B5EF4-FFF2-40B4-BE49-F238E27FC236}">
                  <a16:creationId xmlns:a16="http://schemas.microsoft.com/office/drawing/2014/main" id="{008B1A32-C98D-BE04-DD6A-56803A6120BE}"/>
                </a:ext>
              </a:extLst>
            </p:cNvPr>
            <p:cNvSpPr/>
            <p:nvPr/>
          </p:nvSpPr>
          <p:spPr>
            <a:xfrm>
              <a:off x="6294307" y="3160964"/>
              <a:ext cx="576263" cy="43239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56" name="L-Shape 155">
              <a:extLst>
                <a:ext uri="{FF2B5EF4-FFF2-40B4-BE49-F238E27FC236}">
                  <a16:creationId xmlns:a16="http://schemas.microsoft.com/office/drawing/2014/main" id="{4903EDFA-BFF2-B29C-038B-F8DDC3D7FF43}"/>
                </a:ext>
              </a:extLst>
            </p:cNvPr>
            <p:cNvSpPr/>
            <p:nvPr/>
          </p:nvSpPr>
          <p:spPr>
            <a:xfrm rot="13500000">
              <a:off x="6429116" y="324077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400"/>
            </a:p>
          </p:txBody>
        </p:sp>
      </p:grpSp>
      <p:cxnSp>
        <p:nvCxnSpPr>
          <p:cNvPr id="14" name="Straight Connector 13">
            <a:extLst>
              <a:ext uri="{FF2B5EF4-FFF2-40B4-BE49-F238E27FC236}">
                <a16:creationId xmlns:a16="http://schemas.microsoft.com/office/drawing/2014/main" id="{19C8F992-5A7D-F311-1E82-1949C40D7E4D}"/>
              </a:ext>
            </a:extLst>
          </p:cNvPr>
          <p:cNvCxnSpPr>
            <a:cxnSpLocks/>
          </p:cNvCxnSpPr>
          <p:nvPr/>
        </p:nvCxnSpPr>
        <p:spPr>
          <a:xfrm>
            <a:off x="6927849" y="3633788"/>
            <a:ext cx="48275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3853695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4814B7D5-547D-3226-2475-DFF7002987A0}"/>
              </a:ext>
            </a:extLst>
          </p:cNvPr>
          <p:cNvGraphicFramePr>
            <a:graphicFrameLocks noChangeAspect="1"/>
          </p:cNvGraphicFramePr>
          <p:nvPr>
            <p:custDataLst>
              <p:tags r:id="rId1"/>
            </p:custDataLst>
            <p:extLst>
              <p:ext uri="{D42A27DB-BD31-4B8C-83A1-F6EECF244321}">
                <p14:modId xmlns:p14="http://schemas.microsoft.com/office/powerpoint/2010/main" val="319408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21" name="think-cell data - do not delete" hidden="1">
                        <a:extLst>
                          <a:ext uri="{FF2B5EF4-FFF2-40B4-BE49-F238E27FC236}">
                            <a16:creationId xmlns:a16="http://schemas.microsoft.com/office/drawing/2014/main" id="{4814B7D5-547D-3226-2475-DFF7002987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9" name="Straight Connector 48">
            <a:extLst>
              <a:ext uri="{FF2B5EF4-FFF2-40B4-BE49-F238E27FC236}">
                <a16:creationId xmlns:a16="http://schemas.microsoft.com/office/drawing/2014/main" id="{DE4C088D-E399-9F6B-F572-CB955A850CB7}"/>
              </a:ext>
            </a:extLst>
          </p:cNvPr>
          <p:cNvCxnSpPr>
            <a:cxnSpLocks/>
          </p:cNvCxnSpPr>
          <p:nvPr/>
        </p:nvCxnSpPr>
        <p:spPr>
          <a:xfrm>
            <a:off x="1107653" y="5638441"/>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76" name="Group 75">
            <a:extLst>
              <a:ext uri="{FF2B5EF4-FFF2-40B4-BE49-F238E27FC236}">
                <a16:creationId xmlns:a16="http://schemas.microsoft.com/office/drawing/2014/main" id="{36D472C7-EE99-73DD-2533-458FDF3BA99F}"/>
              </a:ext>
            </a:extLst>
          </p:cNvPr>
          <p:cNvGrpSpPr/>
          <p:nvPr/>
        </p:nvGrpSpPr>
        <p:grpSpPr>
          <a:xfrm>
            <a:off x="442913" y="3326552"/>
            <a:ext cx="5473700" cy="470726"/>
            <a:chOff x="442913" y="3072158"/>
            <a:chExt cx="5473700" cy="470726"/>
          </a:xfrm>
        </p:grpSpPr>
        <p:sp>
          <p:nvSpPr>
            <p:cNvPr id="57" name="Rectangle 56">
              <a:extLst>
                <a:ext uri="{FF2B5EF4-FFF2-40B4-BE49-F238E27FC236}">
                  <a16:creationId xmlns:a16="http://schemas.microsoft.com/office/drawing/2014/main" id="{A073C5EE-5299-ADD0-94D7-3170276FA166}"/>
                </a:ext>
              </a:extLst>
            </p:cNvPr>
            <p:cNvSpPr/>
            <p:nvPr/>
          </p:nvSpPr>
          <p:spPr>
            <a:xfrm>
              <a:off x="442913" y="3072158"/>
              <a:ext cx="576263" cy="47072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2" name="Rectangle 51">
              <a:extLst>
                <a:ext uri="{FF2B5EF4-FFF2-40B4-BE49-F238E27FC236}">
                  <a16:creationId xmlns:a16="http://schemas.microsoft.com/office/drawing/2014/main" id="{54140961-D367-FFB1-E0FC-3F385487D472}"/>
                </a:ext>
              </a:extLst>
            </p:cNvPr>
            <p:cNvSpPr/>
            <p:nvPr/>
          </p:nvSpPr>
          <p:spPr>
            <a:xfrm>
              <a:off x="1107653" y="3091521"/>
              <a:ext cx="4808960"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D</a:t>
              </a:r>
              <a:r>
                <a:rPr lang="lv-LV" sz="1400" b="0" i="0">
                  <a:solidFill>
                    <a:schemeClr val="tx1"/>
                  </a:solidFill>
                  <a:effectLst/>
                </a:rPr>
                <a:t>zeramais ūdens un ūdens citām vajadzībām (piemēram,</a:t>
              </a:r>
            </a:p>
            <a:p>
              <a:pPr algn="l"/>
              <a:r>
                <a:rPr lang="lv-LV" sz="1400" b="0" i="0">
                  <a:solidFill>
                    <a:schemeClr val="tx1"/>
                  </a:solidFill>
                  <a:effectLst/>
                </a:rPr>
                <a:t>mazgāšanai)</a:t>
              </a:r>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317113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857861"/>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Mājas r</a:t>
            </a:r>
            <a:r>
              <a:rPr lang="en-GB" err="1"/>
              <a:t>ezerves</a:t>
            </a:r>
            <a:br>
              <a:rPr lang="lv-LV"/>
            </a:br>
            <a:endParaRPr lang="en-GB">
              <a:solidFill>
                <a:srgbClr val="A8192D"/>
              </a:solidFill>
            </a:endParaRPr>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444975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8075" y="5044097"/>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6940549" y="385788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77" name="Group 76">
            <a:extLst>
              <a:ext uri="{FF2B5EF4-FFF2-40B4-BE49-F238E27FC236}">
                <a16:creationId xmlns:a16="http://schemas.microsoft.com/office/drawing/2014/main" id="{E72D5656-A1E0-4795-B2AE-7E920581FE77}"/>
              </a:ext>
            </a:extLst>
          </p:cNvPr>
          <p:cNvGrpSpPr/>
          <p:nvPr/>
        </p:nvGrpSpPr>
        <p:grpSpPr>
          <a:xfrm>
            <a:off x="442913" y="3918444"/>
            <a:ext cx="5473278" cy="470726"/>
            <a:chOff x="442913" y="3716738"/>
            <a:chExt cx="5473278" cy="470726"/>
          </a:xfrm>
        </p:grpSpPr>
        <p:sp>
          <p:nvSpPr>
            <p:cNvPr id="72" name="Rectangle 71">
              <a:extLst>
                <a:ext uri="{FF2B5EF4-FFF2-40B4-BE49-F238E27FC236}">
                  <a16:creationId xmlns:a16="http://schemas.microsoft.com/office/drawing/2014/main" id="{2543AFCA-7DBC-4F76-9DA2-D2643AE45BA9}"/>
                </a:ext>
              </a:extLst>
            </p:cNvPr>
            <p:cNvSpPr/>
            <p:nvPr/>
          </p:nvSpPr>
          <p:spPr>
            <a:xfrm>
              <a:off x="442913" y="3716738"/>
              <a:ext cx="576263" cy="47072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0" name="Rectangle 39">
              <a:extLst>
                <a:ext uri="{FF2B5EF4-FFF2-40B4-BE49-F238E27FC236}">
                  <a16:creationId xmlns:a16="http://schemas.microsoft.com/office/drawing/2014/main" id="{0397F1B3-1DAC-781B-5BE5-08FA024DC19C}"/>
                </a:ext>
              </a:extLst>
            </p:cNvPr>
            <p:cNvSpPr/>
            <p:nvPr/>
          </p:nvSpPr>
          <p:spPr>
            <a:xfrm>
              <a:off x="1107653" y="3736201"/>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P</a:t>
              </a:r>
              <a:r>
                <a:rPr lang="pt-BR" sz="1400" b="0" i="0">
                  <a:solidFill>
                    <a:schemeClr val="tx1"/>
                  </a:solidFill>
                  <a:effectLst/>
                </a:rPr>
                <a:t>rodukti ar ilgu uzglabāšanas termiņu</a:t>
              </a:r>
              <a:endParaRPr lang="lv-LV" sz="1400" b="0" i="0">
                <a:solidFill>
                  <a:schemeClr val="tx1"/>
                </a:solidFill>
                <a:effectLst/>
              </a:endParaRPr>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81571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78" name="Group 77">
            <a:extLst>
              <a:ext uri="{FF2B5EF4-FFF2-40B4-BE49-F238E27FC236}">
                <a16:creationId xmlns:a16="http://schemas.microsoft.com/office/drawing/2014/main" id="{1753ADC5-21EE-FD32-F4A3-6A5C49B5982A}"/>
              </a:ext>
            </a:extLst>
          </p:cNvPr>
          <p:cNvGrpSpPr/>
          <p:nvPr/>
        </p:nvGrpSpPr>
        <p:grpSpPr>
          <a:xfrm>
            <a:off x="442913" y="4512788"/>
            <a:ext cx="5473278" cy="470726"/>
            <a:chOff x="442913" y="4363770"/>
            <a:chExt cx="5473278" cy="470726"/>
          </a:xfrm>
        </p:grpSpPr>
        <p:sp>
          <p:nvSpPr>
            <p:cNvPr id="79" name="Rectangle 78">
              <a:extLst>
                <a:ext uri="{FF2B5EF4-FFF2-40B4-BE49-F238E27FC236}">
                  <a16:creationId xmlns:a16="http://schemas.microsoft.com/office/drawing/2014/main" id="{33E6C1AD-B972-C1DB-5544-0E474CB14E21}"/>
                </a:ext>
              </a:extLst>
            </p:cNvPr>
            <p:cNvSpPr/>
            <p:nvPr/>
          </p:nvSpPr>
          <p:spPr>
            <a:xfrm>
              <a:off x="442913" y="4363770"/>
              <a:ext cx="576263" cy="47072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1" name="Rectangle 40">
              <a:extLst>
                <a:ext uri="{FF2B5EF4-FFF2-40B4-BE49-F238E27FC236}">
                  <a16:creationId xmlns:a16="http://schemas.microsoft.com/office/drawing/2014/main" id="{66A14158-E11A-E312-8696-ADD9D0E04629}"/>
                </a:ext>
              </a:extLst>
            </p:cNvPr>
            <p:cNvSpPr/>
            <p:nvPr/>
          </p:nvSpPr>
          <p:spPr>
            <a:xfrm>
              <a:off x="1107653" y="4383233"/>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P</a:t>
              </a:r>
              <a:r>
                <a:rPr lang="lv-LV" sz="1400" b="0" i="0">
                  <a:solidFill>
                    <a:schemeClr val="tx1"/>
                  </a:solidFill>
                  <a:effectLst/>
                </a:rPr>
                <a:t>irmās palīdzības aptieciņa</a:t>
              </a:r>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46274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81" name="Group 80">
            <a:extLst>
              <a:ext uri="{FF2B5EF4-FFF2-40B4-BE49-F238E27FC236}">
                <a16:creationId xmlns:a16="http://schemas.microsoft.com/office/drawing/2014/main" id="{3F9F86A0-A224-5EC4-FD63-BAC54844E8DD}"/>
              </a:ext>
            </a:extLst>
          </p:cNvPr>
          <p:cNvGrpSpPr/>
          <p:nvPr/>
        </p:nvGrpSpPr>
        <p:grpSpPr>
          <a:xfrm>
            <a:off x="442913" y="5107132"/>
            <a:ext cx="5473278" cy="470726"/>
            <a:chOff x="442913" y="5010802"/>
            <a:chExt cx="5473278" cy="470726"/>
          </a:xfrm>
        </p:grpSpPr>
        <p:sp>
          <p:nvSpPr>
            <p:cNvPr id="83" name="Rectangle 82">
              <a:extLst>
                <a:ext uri="{FF2B5EF4-FFF2-40B4-BE49-F238E27FC236}">
                  <a16:creationId xmlns:a16="http://schemas.microsoft.com/office/drawing/2014/main" id="{85C12B75-1D6E-881F-E30B-68674AFA8E56}"/>
                </a:ext>
              </a:extLst>
            </p:cNvPr>
            <p:cNvSpPr/>
            <p:nvPr/>
          </p:nvSpPr>
          <p:spPr>
            <a:xfrm>
              <a:off x="442913" y="5010802"/>
              <a:ext cx="576263" cy="47072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2" name="Rectangle 41">
              <a:extLst>
                <a:ext uri="{FF2B5EF4-FFF2-40B4-BE49-F238E27FC236}">
                  <a16:creationId xmlns:a16="http://schemas.microsoft.com/office/drawing/2014/main" id="{986F6EBD-76CF-AA8A-DC11-0900DE8A8EB0}"/>
                </a:ext>
              </a:extLst>
            </p:cNvPr>
            <p:cNvSpPr/>
            <p:nvPr/>
          </p:nvSpPr>
          <p:spPr>
            <a:xfrm>
              <a:off x="1107653" y="5030265"/>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K</a:t>
              </a:r>
              <a:r>
                <a:rPr lang="lv-LV" sz="1400" b="0" i="0">
                  <a:solidFill>
                    <a:schemeClr val="tx1"/>
                  </a:solidFill>
                  <a:effectLst/>
                </a:rPr>
                <a:t>abatas lukturīši, rezerves baterijas vai akumulatori priekš tiem, sveces</a:t>
              </a:r>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510977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82" name="Group 81">
            <a:extLst>
              <a:ext uri="{FF2B5EF4-FFF2-40B4-BE49-F238E27FC236}">
                <a16:creationId xmlns:a16="http://schemas.microsoft.com/office/drawing/2014/main" id="{93D3D9D3-E021-C5C7-0D3D-B783A24C2082}"/>
              </a:ext>
            </a:extLst>
          </p:cNvPr>
          <p:cNvGrpSpPr/>
          <p:nvPr/>
        </p:nvGrpSpPr>
        <p:grpSpPr>
          <a:xfrm>
            <a:off x="442913" y="5701474"/>
            <a:ext cx="5473279" cy="470726"/>
            <a:chOff x="442913" y="5657837"/>
            <a:chExt cx="5473279" cy="470726"/>
          </a:xfrm>
        </p:grpSpPr>
        <p:sp>
          <p:nvSpPr>
            <p:cNvPr id="89" name="Rectangle 88">
              <a:extLst>
                <a:ext uri="{FF2B5EF4-FFF2-40B4-BE49-F238E27FC236}">
                  <a16:creationId xmlns:a16="http://schemas.microsoft.com/office/drawing/2014/main" id="{7AD0F22C-299C-4471-6C33-C68875EFE67F}"/>
                </a:ext>
              </a:extLst>
            </p:cNvPr>
            <p:cNvSpPr/>
            <p:nvPr/>
          </p:nvSpPr>
          <p:spPr>
            <a:xfrm>
              <a:off x="442913" y="5657837"/>
              <a:ext cx="576263" cy="47072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0" name="Rectangle 19">
              <a:extLst>
                <a:ext uri="{FF2B5EF4-FFF2-40B4-BE49-F238E27FC236}">
                  <a16:creationId xmlns:a16="http://schemas.microsoft.com/office/drawing/2014/main" id="{A4EAD244-3E35-CF16-9610-C9DD5B3A3D07}"/>
                </a:ext>
              </a:extLst>
            </p:cNvPr>
            <p:cNvSpPr/>
            <p:nvPr/>
          </p:nvSpPr>
          <p:spPr>
            <a:xfrm>
              <a:off x="1107654" y="5677300"/>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G</a:t>
              </a:r>
              <a:r>
                <a:rPr lang="lv-LV" sz="1400" b="0" i="0">
                  <a:solidFill>
                    <a:srgbClr val="212529"/>
                  </a:solidFill>
                  <a:effectLst/>
                </a:rPr>
                <a:t>āzes deglis ar rezerves gāzes baloniem gatavošanai vai cita</a:t>
              </a:r>
              <a:r>
                <a:rPr lang="en-US" sz="1400" b="0" i="0">
                  <a:solidFill>
                    <a:srgbClr val="212529"/>
                  </a:solidFill>
                  <a:effectLst/>
                </a:rPr>
                <a:t> </a:t>
              </a:r>
              <a:r>
                <a:rPr lang="lv-LV" sz="1400" b="0" i="0">
                  <a:solidFill>
                    <a:srgbClr val="212529"/>
                  </a:solidFill>
                  <a:effectLst/>
                </a:rPr>
                <a:t>kurināmā veida plītiņa</a:t>
              </a:r>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9307" y="5756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85" name="Group 84">
            <a:extLst>
              <a:ext uri="{FF2B5EF4-FFF2-40B4-BE49-F238E27FC236}">
                <a16:creationId xmlns:a16="http://schemas.microsoft.com/office/drawing/2014/main" id="{57AD1D61-D676-F338-2587-50E03B50E65A}"/>
              </a:ext>
            </a:extLst>
          </p:cNvPr>
          <p:cNvGrpSpPr/>
          <p:nvPr/>
        </p:nvGrpSpPr>
        <p:grpSpPr>
          <a:xfrm>
            <a:off x="6275810" y="3327216"/>
            <a:ext cx="5473278" cy="470062"/>
            <a:chOff x="6275810" y="3072312"/>
            <a:chExt cx="5473278" cy="470062"/>
          </a:xfrm>
        </p:grpSpPr>
        <p:sp>
          <p:nvSpPr>
            <p:cNvPr id="91" name="Rectangle 90">
              <a:extLst>
                <a:ext uri="{FF2B5EF4-FFF2-40B4-BE49-F238E27FC236}">
                  <a16:creationId xmlns:a16="http://schemas.microsoft.com/office/drawing/2014/main" id="{923ED525-0203-6BC5-F3E8-8ABB7C0A1DD9}"/>
                </a:ext>
              </a:extLst>
            </p:cNvPr>
            <p:cNvSpPr/>
            <p:nvPr/>
          </p:nvSpPr>
          <p:spPr>
            <a:xfrm>
              <a:off x="6275810" y="3072312"/>
              <a:ext cx="576263" cy="47006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4" name="Rectangle 63">
              <a:extLst>
                <a:ext uri="{FF2B5EF4-FFF2-40B4-BE49-F238E27FC236}">
                  <a16:creationId xmlns:a16="http://schemas.microsoft.com/office/drawing/2014/main" id="{C8839363-023E-6108-2610-F9869562BA65}"/>
                </a:ext>
              </a:extLst>
            </p:cNvPr>
            <p:cNvSpPr/>
            <p:nvPr/>
          </p:nvSpPr>
          <p:spPr>
            <a:xfrm>
              <a:off x="6940550" y="3091442"/>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U</a:t>
              </a:r>
              <a:r>
                <a:rPr lang="lv-LV" sz="1400" b="0" i="0">
                  <a:solidFill>
                    <a:srgbClr val="212529"/>
                  </a:solidFill>
                  <a:effectLst/>
                </a:rPr>
                <a:t>gunsdzēsības aparāts</a:t>
              </a:r>
            </a:p>
          </p:txBody>
        </p:sp>
        <p:sp>
          <p:nvSpPr>
            <p:cNvPr id="92" name="L-Shape 91">
              <a:extLst>
                <a:ext uri="{FF2B5EF4-FFF2-40B4-BE49-F238E27FC236}">
                  <a16:creationId xmlns:a16="http://schemas.microsoft.com/office/drawing/2014/main" id="{97672140-6C3A-9556-1AB0-06A807124770}"/>
                </a:ext>
              </a:extLst>
            </p:cNvPr>
            <p:cNvSpPr/>
            <p:nvPr/>
          </p:nvSpPr>
          <p:spPr>
            <a:xfrm rot="13500000">
              <a:off x="6392204" y="317095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1</a:t>
            </a:fld>
            <a:endParaRPr lang="en-GB"/>
          </a:p>
        </p:txBody>
      </p:sp>
      <p:grpSp>
        <p:nvGrpSpPr>
          <p:cNvPr id="94" name="Group 93">
            <a:extLst>
              <a:ext uri="{FF2B5EF4-FFF2-40B4-BE49-F238E27FC236}">
                <a16:creationId xmlns:a16="http://schemas.microsoft.com/office/drawing/2014/main" id="{3BB46F0B-411D-7168-8D0B-E5E1A567F70C}"/>
              </a:ext>
            </a:extLst>
          </p:cNvPr>
          <p:cNvGrpSpPr/>
          <p:nvPr/>
        </p:nvGrpSpPr>
        <p:grpSpPr>
          <a:xfrm>
            <a:off x="442913" y="2654280"/>
            <a:ext cx="11306174" cy="576000"/>
            <a:chOff x="442913" y="2363572"/>
            <a:chExt cx="11306174" cy="576000"/>
          </a:xfrm>
        </p:grpSpPr>
        <p:sp>
          <p:nvSpPr>
            <p:cNvPr id="50" name="Rectangle 49">
              <a:extLst>
                <a:ext uri="{FF2B5EF4-FFF2-40B4-BE49-F238E27FC236}">
                  <a16:creationId xmlns:a16="http://schemas.microsoft.com/office/drawing/2014/main" id="{1E384B44-88CC-8F76-E9AF-DBDBDD24EECE}"/>
                </a:ext>
              </a:extLst>
            </p:cNvPr>
            <p:cNvSpPr/>
            <p:nvPr/>
          </p:nvSpPr>
          <p:spPr>
            <a:xfrm>
              <a:off x="442913" y="2363572"/>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Ieteicamās rezerves:</a:t>
              </a:r>
            </a:p>
          </p:txBody>
        </p:sp>
        <p:grpSp>
          <p:nvGrpSpPr>
            <p:cNvPr id="36" name="Group 35">
              <a:extLst>
                <a:ext uri="{FF2B5EF4-FFF2-40B4-BE49-F238E27FC236}">
                  <a16:creationId xmlns:a16="http://schemas.microsoft.com/office/drawing/2014/main" id="{E0C6B37A-9798-FF27-2562-5616D160FA0C}"/>
                </a:ext>
              </a:extLst>
            </p:cNvPr>
            <p:cNvGrpSpPr/>
            <p:nvPr/>
          </p:nvGrpSpPr>
          <p:grpSpPr>
            <a:xfrm>
              <a:off x="11102199" y="2363572"/>
              <a:ext cx="646888" cy="576000"/>
              <a:chOff x="5269725" y="1819275"/>
              <a:chExt cx="646888" cy="576000"/>
            </a:xfrm>
          </p:grpSpPr>
          <p:grpSp>
            <p:nvGrpSpPr>
              <p:cNvPr id="23" name="Google Shape;1039;p85">
                <a:extLst>
                  <a:ext uri="{FF2B5EF4-FFF2-40B4-BE49-F238E27FC236}">
                    <a16:creationId xmlns:a16="http://schemas.microsoft.com/office/drawing/2014/main" id="{C55D8B85-A904-322C-FBFB-D30D8C2CA33E}"/>
                  </a:ext>
                </a:extLst>
              </p:cNvPr>
              <p:cNvGrpSpPr/>
              <p:nvPr/>
            </p:nvGrpSpPr>
            <p:grpSpPr>
              <a:xfrm>
                <a:off x="5448312" y="1927243"/>
                <a:ext cx="360367" cy="360364"/>
                <a:chOff x="5098067" y="3792438"/>
                <a:chExt cx="456085" cy="455929"/>
              </a:xfrm>
              <a:solidFill>
                <a:schemeClr val="bg1"/>
              </a:solidFill>
            </p:grpSpPr>
            <p:sp>
              <p:nvSpPr>
                <p:cNvPr id="24" name="Google Shape;1040;p85">
                  <a:extLst>
                    <a:ext uri="{FF2B5EF4-FFF2-40B4-BE49-F238E27FC236}">
                      <a16:creationId xmlns:a16="http://schemas.microsoft.com/office/drawing/2014/main" id="{23A65001-D5D7-426E-CC57-F2CEBCBC48F4}"/>
                    </a:ext>
                  </a:extLst>
                </p:cNvPr>
                <p:cNvSpPr/>
                <p:nvPr/>
              </p:nvSpPr>
              <p:spPr>
                <a:xfrm>
                  <a:off x="5200791" y="4065964"/>
                  <a:ext cx="54962" cy="90046"/>
                </a:xfrm>
                <a:custGeom>
                  <a:avLst/>
                  <a:gdLst/>
                  <a:ahLst/>
                  <a:cxnLst/>
                  <a:rect l="l" t="t" r="r" b="b"/>
                  <a:pathLst>
                    <a:path w="54962" h="90046" extrusionOk="0">
                      <a:moveTo>
                        <a:pt x="49052" y="2501"/>
                      </a:moveTo>
                      <a:lnTo>
                        <a:pt x="48513" y="0"/>
                      </a:lnTo>
                      <a:lnTo>
                        <a:pt x="46518" y="1615"/>
                      </a:lnTo>
                      <a:cubicBezTo>
                        <a:pt x="35654" y="10417"/>
                        <a:pt x="9556" y="33055"/>
                        <a:pt x="1828" y="53540"/>
                      </a:cubicBezTo>
                      <a:lnTo>
                        <a:pt x="1448" y="54617"/>
                      </a:lnTo>
                      <a:cubicBezTo>
                        <a:pt x="-864" y="61316"/>
                        <a:pt x="-389" y="68656"/>
                        <a:pt x="2746" y="75007"/>
                      </a:cubicBezTo>
                      <a:cubicBezTo>
                        <a:pt x="5755" y="81387"/>
                        <a:pt x="11203" y="86294"/>
                        <a:pt x="17854" y="88622"/>
                      </a:cubicBezTo>
                      <a:cubicBezTo>
                        <a:pt x="20578" y="89565"/>
                        <a:pt x="23397" y="90046"/>
                        <a:pt x="26279" y="90046"/>
                      </a:cubicBezTo>
                      <a:cubicBezTo>
                        <a:pt x="30396" y="90027"/>
                        <a:pt x="34451" y="89065"/>
                        <a:pt x="38156" y="87228"/>
                      </a:cubicBezTo>
                      <a:cubicBezTo>
                        <a:pt x="44554" y="84167"/>
                        <a:pt x="49432" y="78686"/>
                        <a:pt x="51775" y="71999"/>
                      </a:cubicBezTo>
                      <a:lnTo>
                        <a:pt x="52124" y="70954"/>
                      </a:lnTo>
                      <a:cubicBezTo>
                        <a:pt x="58712" y="50057"/>
                        <a:pt x="52187" y="16116"/>
                        <a:pt x="49052" y="2501"/>
                      </a:cubicBezTo>
                      <a:close/>
                      <a:moveTo>
                        <a:pt x="15795" y="59049"/>
                      </a:moveTo>
                      <a:lnTo>
                        <a:pt x="15795" y="59049"/>
                      </a:lnTo>
                      <a:lnTo>
                        <a:pt x="17411" y="59271"/>
                      </a:lnTo>
                      <a:cubicBezTo>
                        <a:pt x="20800" y="50437"/>
                        <a:pt x="29636" y="40274"/>
                        <a:pt x="37206" y="32422"/>
                      </a:cubicBezTo>
                      <a:cubicBezTo>
                        <a:pt x="38410" y="43282"/>
                        <a:pt x="39011" y="56928"/>
                        <a:pt x="36129" y="66015"/>
                      </a:cubicBezTo>
                      <a:lnTo>
                        <a:pt x="36129" y="66553"/>
                      </a:lnTo>
                      <a:cubicBezTo>
                        <a:pt x="34260" y="71708"/>
                        <a:pt x="28686" y="74494"/>
                        <a:pt x="23460" y="72886"/>
                      </a:cubicBezTo>
                      <a:cubicBezTo>
                        <a:pt x="18329" y="71017"/>
                        <a:pt x="15542" y="65455"/>
                        <a:pt x="17126" y="60221"/>
                      </a:cubicBezTo>
                      <a:lnTo>
                        <a:pt x="17347" y="59651"/>
                      </a:lnTo>
                      <a:lnTo>
                        <a:pt x="15827" y="59144"/>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41;p85">
                  <a:extLst>
                    <a:ext uri="{FF2B5EF4-FFF2-40B4-BE49-F238E27FC236}">
                      <a16:creationId xmlns:a16="http://schemas.microsoft.com/office/drawing/2014/main" id="{E80A6376-CF9B-C197-B500-54BEB51A8047}"/>
                    </a:ext>
                  </a:extLst>
                </p:cNvPr>
                <p:cNvSpPr/>
                <p:nvPr/>
              </p:nvSpPr>
              <p:spPr>
                <a:xfrm>
                  <a:off x="5289022" y="4065964"/>
                  <a:ext cx="54953" cy="90046"/>
                </a:xfrm>
                <a:custGeom>
                  <a:avLst/>
                  <a:gdLst/>
                  <a:ahLst/>
                  <a:cxnLst/>
                  <a:rect l="l" t="t" r="r" b="b"/>
                  <a:pathLst>
                    <a:path w="54953" h="90046" extrusionOk="0">
                      <a:moveTo>
                        <a:pt x="49060" y="2501"/>
                      </a:moveTo>
                      <a:lnTo>
                        <a:pt x="48490" y="0"/>
                      </a:lnTo>
                      <a:lnTo>
                        <a:pt x="46527" y="1615"/>
                      </a:lnTo>
                      <a:cubicBezTo>
                        <a:pt x="35663" y="10417"/>
                        <a:pt x="9533" y="33055"/>
                        <a:pt x="1836" y="53540"/>
                      </a:cubicBezTo>
                      <a:cubicBezTo>
                        <a:pt x="1836" y="53825"/>
                        <a:pt x="1456" y="54522"/>
                        <a:pt x="1424" y="54617"/>
                      </a:cubicBezTo>
                      <a:cubicBezTo>
                        <a:pt x="-856" y="61316"/>
                        <a:pt x="-381" y="68649"/>
                        <a:pt x="2723" y="75007"/>
                      </a:cubicBezTo>
                      <a:cubicBezTo>
                        <a:pt x="5732" y="81384"/>
                        <a:pt x="11180" y="86288"/>
                        <a:pt x="17831" y="88622"/>
                      </a:cubicBezTo>
                      <a:cubicBezTo>
                        <a:pt x="20555" y="89562"/>
                        <a:pt x="23374" y="90043"/>
                        <a:pt x="26256" y="90046"/>
                      </a:cubicBezTo>
                      <a:cubicBezTo>
                        <a:pt x="30373" y="90027"/>
                        <a:pt x="34427" y="89065"/>
                        <a:pt x="38133" y="87228"/>
                      </a:cubicBezTo>
                      <a:cubicBezTo>
                        <a:pt x="44531" y="84176"/>
                        <a:pt x="49440" y="78689"/>
                        <a:pt x="51752" y="71999"/>
                      </a:cubicBezTo>
                      <a:cubicBezTo>
                        <a:pt x="51911" y="71660"/>
                        <a:pt x="52006" y="71312"/>
                        <a:pt x="52101" y="70954"/>
                      </a:cubicBezTo>
                      <a:cubicBezTo>
                        <a:pt x="58721" y="50057"/>
                        <a:pt x="52164" y="16116"/>
                        <a:pt x="49060" y="2501"/>
                      </a:cubicBezTo>
                      <a:close/>
                      <a:moveTo>
                        <a:pt x="15867" y="59049"/>
                      </a:moveTo>
                      <a:lnTo>
                        <a:pt x="15867" y="59049"/>
                      </a:lnTo>
                      <a:lnTo>
                        <a:pt x="17483" y="59271"/>
                      </a:lnTo>
                      <a:cubicBezTo>
                        <a:pt x="20871" y="50437"/>
                        <a:pt x="29677" y="40274"/>
                        <a:pt x="37278" y="32422"/>
                      </a:cubicBezTo>
                      <a:cubicBezTo>
                        <a:pt x="38482" y="43282"/>
                        <a:pt x="39083" y="56928"/>
                        <a:pt x="36201" y="66015"/>
                      </a:cubicBezTo>
                      <a:lnTo>
                        <a:pt x="36011" y="66553"/>
                      </a:lnTo>
                      <a:cubicBezTo>
                        <a:pt x="34174" y="71717"/>
                        <a:pt x="28568" y="74510"/>
                        <a:pt x="23342" y="72886"/>
                      </a:cubicBezTo>
                      <a:cubicBezTo>
                        <a:pt x="18274" y="70932"/>
                        <a:pt x="15614" y="65401"/>
                        <a:pt x="17198" y="60221"/>
                      </a:cubicBezTo>
                      <a:lnTo>
                        <a:pt x="17388" y="59651"/>
                      </a:lnTo>
                      <a:lnTo>
                        <a:pt x="15899" y="59144"/>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6" name="Google Shape;1042;p85">
                  <a:extLst>
                    <a:ext uri="{FF2B5EF4-FFF2-40B4-BE49-F238E27FC236}">
                      <a16:creationId xmlns:a16="http://schemas.microsoft.com/office/drawing/2014/main" id="{FB4DE30E-1F8C-37AC-C678-7204D066C518}"/>
                    </a:ext>
                  </a:extLst>
                </p:cNvPr>
                <p:cNvSpPr/>
                <p:nvPr/>
              </p:nvSpPr>
              <p:spPr>
                <a:xfrm>
                  <a:off x="5377239" y="4065964"/>
                  <a:ext cx="54963" cy="90046"/>
                </a:xfrm>
                <a:custGeom>
                  <a:avLst/>
                  <a:gdLst/>
                  <a:ahLst/>
                  <a:cxnLst/>
                  <a:rect l="l" t="t" r="r" b="b"/>
                  <a:pathLst>
                    <a:path w="54963" h="90046" extrusionOk="0">
                      <a:moveTo>
                        <a:pt x="49083" y="2501"/>
                      </a:moveTo>
                      <a:lnTo>
                        <a:pt x="48513" y="0"/>
                      </a:lnTo>
                      <a:lnTo>
                        <a:pt x="46518" y="1615"/>
                      </a:lnTo>
                      <a:cubicBezTo>
                        <a:pt x="35654" y="10417"/>
                        <a:pt x="9556" y="33055"/>
                        <a:pt x="1828" y="53540"/>
                      </a:cubicBezTo>
                      <a:lnTo>
                        <a:pt x="1448" y="54617"/>
                      </a:lnTo>
                      <a:cubicBezTo>
                        <a:pt x="-865" y="61316"/>
                        <a:pt x="-389" y="68656"/>
                        <a:pt x="2746" y="75007"/>
                      </a:cubicBezTo>
                      <a:cubicBezTo>
                        <a:pt x="5755" y="81387"/>
                        <a:pt x="11203" y="86294"/>
                        <a:pt x="17854" y="88622"/>
                      </a:cubicBezTo>
                      <a:cubicBezTo>
                        <a:pt x="20578" y="89565"/>
                        <a:pt x="23397" y="90046"/>
                        <a:pt x="26279" y="90046"/>
                      </a:cubicBezTo>
                      <a:cubicBezTo>
                        <a:pt x="30396" y="90027"/>
                        <a:pt x="34451" y="89065"/>
                        <a:pt x="38156" y="87228"/>
                      </a:cubicBezTo>
                      <a:cubicBezTo>
                        <a:pt x="44554" y="84176"/>
                        <a:pt x="49463" y="78689"/>
                        <a:pt x="51775" y="71999"/>
                      </a:cubicBezTo>
                      <a:lnTo>
                        <a:pt x="52124" y="70954"/>
                      </a:lnTo>
                      <a:cubicBezTo>
                        <a:pt x="58712" y="50057"/>
                        <a:pt x="52187" y="16116"/>
                        <a:pt x="49083" y="2501"/>
                      </a:cubicBezTo>
                      <a:close/>
                      <a:moveTo>
                        <a:pt x="15890" y="59049"/>
                      </a:moveTo>
                      <a:lnTo>
                        <a:pt x="15890" y="59049"/>
                      </a:lnTo>
                      <a:lnTo>
                        <a:pt x="17474" y="59271"/>
                      </a:lnTo>
                      <a:cubicBezTo>
                        <a:pt x="20863" y="50437"/>
                        <a:pt x="29700" y="40274"/>
                        <a:pt x="37301" y="32422"/>
                      </a:cubicBezTo>
                      <a:cubicBezTo>
                        <a:pt x="38505" y="43282"/>
                        <a:pt x="39075" y="56928"/>
                        <a:pt x="36193" y="66015"/>
                      </a:cubicBezTo>
                      <a:lnTo>
                        <a:pt x="36034" y="66553"/>
                      </a:lnTo>
                      <a:cubicBezTo>
                        <a:pt x="34197" y="71717"/>
                        <a:pt x="28591" y="74510"/>
                        <a:pt x="23365" y="72886"/>
                      </a:cubicBezTo>
                      <a:cubicBezTo>
                        <a:pt x="18298" y="70957"/>
                        <a:pt x="15574" y="65410"/>
                        <a:pt x="17189" y="60221"/>
                      </a:cubicBezTo>
                      <a:lnTo>
                        <a:pt x="17411" y="59651"/>
                      </a:lnTo>
                      <a:lnTo>
                        <a:pt x="15922" y="59144"/>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7" name="Google Shape;1043;p85">
                  <a:extLst>
                    <a:ext uri="{FF2B5EF4-FFF2-40B4-BE49-F238E27FC236}">
                      <a16:creationId xmlns:a16="http://schemas.microsoft.com/office/drawing/2014/main" id="{53E07E04-4B32-E122-2D56-D0DD5128BEFC}"/>
                    </a:ext>
                  </a:extLst>
                </p:cNvPr>
                <p:cNvSpPr/>
                <p:nvPr/>
              </p:nvSpPr>
              <p:spPr>
                <a:xfrm>
                  <a:off x="5098067" y="3792438"/>
                  <a:ext cx="456085" cy="455929"/>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8" name="Google Shape;1044;p85">
                  <a:extLst>
                    <a:ext uri="{FF2B5EF4-FFF2-40B4-BE49-F238E27FC236}">
                      <a16:creationId xmlns:a16="http://schemas.microsoft.com/office/drawing/2014/main" id="{D443AA0C-AFFE-4801-B64D-784CDAB80A7A}"/>
                    </a:ext>
                  </a:extLst>
                </p:cNvPr>
                <p:cNvSpPr/>
                <p:nvPr/>
              </p:nvSpPr>
              <p:spPr>
                <a:xfrm>
                  <a:off x="5159441" y="3860465"/>
                  <a:ext cx="333742" cy="188148"/>
                </a:xfrm>
                <a:custGeom>
                  <a:avLst/>
                  <a:gdLst/>
                  <a:ahLst/>
                  <a:cxnLst/>
                  <a:rect l="l" t="t" r="r" b="b"/>
                  <a:pathLst>
                    <a:path w="333742" h="188148" extrusionOk="0">
                      <a:moveTo>
                        <a:pt x="219784" y="188148"/>
                      </a:moveTo>
                      <a:lnTo>
                        <a:pt x="281324" y="188148"/>
                      </a:lnTo>
                      <a:cubicBezTo>
                        <a:pt x="310336" y="188098"/>
                        <a:pt x="333805" y="164551"/>
                        <a:pt x="333742" y="135558"/>
                      </a:cubicBezTo>
                      <a:cubicBezTo>
                        <a:pt x="333710" y="111381"/>
                        <a:pt x="317146" y="90361"/>
                        <a:pt x="293645" y="84646"/>
                      </a:cubicBezTo>
                      <a:cubicBezTo>
                        <a:pt x="293645" y="83474"/>
                        <a:pt x="293645" y="82303"/>
                        <a:pt x="293645" y="81100"/>
                      </a:cubicBezTo>
                      <a:cubicBezTo>
                        <a:pt x="293645" y="56460"/>
                        <a:pt x="273659" y="36491"/>
                        <a:pt x="249018" y="36491"/>
                      </a:cubicBezTo>
                      <a:cubicBezTo>
                        <a:pt x="241511" y="36494"/>
                        <a:pt x="234132" y="38388"/>
                        <a:pt x="227544" y="41997"/>
                      </a:cubicBezTo>
                      <a:cubicBezTo>
                        <a:pt x="199419" y="-917"/>
                        <a:pt x="141806" y="-12914"/>
                        <a:pt x="98890" y="15202"/>
                      </a:cubicBezTo>
                      <a:cubicBezTo>
                        <a:pt x="82040" y="26233"/>
                        <a:pt x="69244" y="42437"/>
                        <a:pt x="62403" y="61374"/>
                      </a:cubicBezTo>
                      <a:cubicBezTo>
                        <a:pt x="27405" y="61890"/>
                        <a:pt x="-531" y="90658"/>
                        <a:pt x="8" y="125632"/>
                      </a:cubicBezTo>
                      <a:cubicBezTo>
                        <a:pt x="515" y="160606"/>
                        <a:pt x="29273" y="188538"/>
                        <a:pt x="64272" y="188022"/>
                      </a:cubicBezTo>
                      <a:lnTo>
                        <a:pt x="219467" y="188022"/>
                      </a:lnTo>
                      <a:close/>
                      <a:moveTo>
                        <a:pt x="64303" y="168676"/>
                      </a:moveTo>
                      <a:cubicBezTo>
                        <a:pt x="40042" y="168024"/>
                        <a:pt x="20880" y="147827"/>
                        <a:pt x="21545" y="123564"/>
                      </a:cubicBezTo>
                      <a:cubicBezTo>
                        <a:pt x="22178" y="100220"/>
                        <a:pt x="40961" y="81441"/>
                        <a:pt x="64303" y="80815"/>
                      </a:cubicBezTo>
                      <a:cubicBezTo>
                        <a:pt x="65728" y="80815"/>
                        <a:pt x="67154" y="80887"/>
                        <a:pt x="68579" y="81036"/>
                      </a:cubicBezTo>
                      <a:lnTo>
                        <a:pt x="76782" y="81828"/>
                      </a:lnTo>
                      <a:lnTo>
                        <a:pt x="78904" y="73849"/>
                      </a:lnTo>
                      <a:cubicBezTo>
                        <a:pt x="89451" y="34690"/>
                        <a:pt x="129739" y="11482"/>
                        <a:pt x="168918" y="22009"/>
                      </a:cubicBezTo>
                      <a:cubicBezTo>
                        <a:pt x="189378" y="27512"/>
                        <a:pt x="206482" y="41586"/>
                        <a:pt x="215793" y="60615"/>
                      </a:cubicBezTo>
                      <a:lnTo>
                        <a:pt x="221748" y="72741"/>
                      </a:lnTo>
                      <a:lnTo>
                        <a:pt x="231250" y="63242"/>
                      </a:lnTo>
                      <a:cubicBezTo>
                        <a:pt x="241195" y="53586"/>
                        <a:pt x="257094" y="53826"/>
                        <a:pt x="266755" y="63781"/>
                      </a:cubicBezTo>
                      <a:cubicBezTo>
                        <a:pt x="273406" y="70620"/>
                        <a:pt x="275591" y="80628"/>
                        <a:pt x="272424" y="89617"/>
                      </a:cubicBezTo>
                      <a:lnTo>
                        <a:pt x="267800" y="102281"/>
                      </a:lnTo>
                      <a:lnTo>
                        <a:pt x="281451" y="102471"/>
                      </a:lnTo>
                      <a:cubicBezTo>
                        <a:pt x="299694" y="102611"/>
                        <a:pt x="314358" y="117511"/>
                        <a:pt x="314232" y="135748"/>
                      </a:cubicBezTo>
                      <a:cubicBezTo>
                        <a:pt x="314105" y="153985"/>
                        <a:pt x="299188" y="168657"/>
                        <a:pt x="280944" y="168518"/>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Google Shape;687;p78">
                <a:extLst>
                  <a:ext uri="{FF2B5EF4-FFF2-40B4-BE49-F238E27FC236}">
                    <a16:creationId xmlns:a16="http://schemas.microsoft.com/office/drawing/2014/main" id="{98618099-D8BC-3269-3F60-AA76DE80B506}"/>
                  </a:ext>
                </a:extLst>
              </p:cNvPr>
              <p:cNvSpPr/>
              <p:nvPr/>
            </p:nvSpPr>
            <p:spPr>
              <a:xfrm>
                <a:off x="5448267" y="1927235"/>
                <a:ext cx="360363" cy="360363"/>
              </a:xfrm>
              <a:custGeom>
                <a:avLst/>
                <a:gdLst/>
                <a:ahLst/>
                <a:cxnLst/>
                <a:rect l="l" t="t" r="r" b="b"/>
                <a:pathLst>
                  <a:path w="704" h="706" extrusionOk="0">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grpSp>
      </p:grpSp>
      <p:cxnSp>
        <p:nvCxnSpPr>
          <p:cNvPr id="4" name="Straight Connector 3">
            <a:extLst>
              <a:ext uri="{FF2B5EF4-FFF2-40B4-BE49-F238E27FC236}">
                <a16:creationId xmlns:a16="http://schemas.microsoft.com/office/drawing/2014/main" id="{9128A8B2-9B22-0215-9482-2DD2B36E81B3}"/>
              </a:ext>
            </a:extLst>
          </p:cNvPr>
          <p:cNvCxnSpPr>
            <a:cxnSpLocks/>
          </p:cNvCxnSpPr>
          <p:nvPr/>
        </p:nvCxnSpPr>
        <p:spPr>
          <a:xfrm>
            <a:off x="6940127" y="504534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1" name="Straight Connector 10">
            <a:extLst>
              <a:ext uri="{FF2B5EF4-FFF2-40B4-BE49-F238E27FC236}">
                <a16:creationId xmlns:a16="http://schemas.microsoft.com/office/drawing/2014/main" id="{86CF91DB-4871-AE7B-3C9D-00EC6329D387}"/>
              </a:ext>
            </a:extLst>
          </p:cNvPr>
          <p:cNvCxnSpPr>
            <a:cxnSpLocks/>
          </p:cNvCxnSpPr>
          <p:nvPr/>
        </p:nvCxnSpPr>
        <p:spPr>
          <a:xfrm>
            <a:off x="6940549" y="445161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2" name="Straight Connector 11">
            <a:extLst>
              <a:ext uri="{FF2B5EF4-FFF2-40B4-BE49-F238E27FC236}">
                <a16:creationId xmlns:a16="http://schemas.microsoft.com/office/drawing/2014/main" id="{FE6BA565-B4D8-F247-E016-E204B472C39E}"/>
              </a:ext>
            </a:extLst>
          </p:cNvPr>
          <p:cNvCxnSpPr>
            <a:cxnSpLocks/>
          </p:cNvCxnSpPr>
          <p:nvPr/>
        </p:nvCxnSpPr>
        <p:spPr>
          <a:xfrm>
            <a:off x="6940127" y="563907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86" name="Group 85">
            <a:extLst>
              <a:ext uri="{FF2B5EF4-FFF2-40B4-BE49-F238E27FC236}">
                <a16:creationId xmlns:a16="http://schemas.microsoft.com/office/drawing/2014/main" id="{0F3ACE4A-2421-7789-1D8F-54497EBCE9E2}"/>
              </a:ext>
            </a:extLst>
          </p:cNvPr>
          <p:cNvGrpSpPr/>
          <p:nvPr/>
        </p:nvGrpSpPr>
        <p:grpSpPr>
          <a:xfrm>
            <a:off x="6275387" y="3920946"/>
            <a:ext cx="5473278" cy="470062"/>
            <a:chOff x="6275387" y="3718875"/>
            <a:chExt cx="5473278" cy="470062"/>
          </a:xfrm>
        </p:grpSpPr>
        <p:sp>
          <p:nvSpPr>
            <p:cNvPr id="7" name="Rectangle 6">
              <a:extLst>
                <a:ext uri="{FF2B5EF4-FFF2-40B4-BE49-F238E27FC236}">
                  <a16:creationId xmlns:a16="http://schemas.microsoft.com/office/drawing/2014/main" id="{1382C6AE-0E82-233B-9AAC-933A7A525A1D}"/>
                </a:ext>
              </a:extLst>
            </p:cNvPr>
            <p:cNvSpPr/>
            <p:nvPr/>
          </p:nvSpPr>
          <p:spPr>
            <a:xfrm>
              <a:off x="6275387" y="3718875"/>
              <a:ext cx="576263" cy="47006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3" name="Rectangle 12">
              <a:extLst>
                <a:ext uri="{FF2B5EF4-FFF2-40B4-BE49-F238E27FC236}">
                  <a16:creationId xmlns:a16="http://schemas.microsoft.com/office/drawing/2014/main" id="{796BC01C-F070-C5BD-AF9C-CB23C1AB936F}"/>
                </a:ext>
              </a:extLst>
            </p:cNvPr>
            <p:cNvSpPr/>
            <p:nvPr/>
          </p:nvSpPr>
          <p:spPr>
            <a:xfrm>
              <a:off x="6940127" y="3738005"/>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Siltas segas, guļammaisi, siltā apakšveļa (aukstajā sezonā)</a:t>
              </a:r>
              <a:endParaRPr lang="lv-LV" sz="1400" b="0" i="0">
                <a:solidFill>
                  <a:schemeClr val="tx1"/>
                </a:solidFill>
                <a:effectLst/>
              </a:endParaRPr>
            </a:p>
          </p:txBody>
        </p:sp>
        <p:sp>
          <p:nvSpPr>
            <p:cNvPr id="47" name="L-Shape 46">
              <a:extLst>
                <a:ext uri="{FF2B5EF4-FFF2-40B4-BE49-F238E27FC236}">
                  <a16:creationId xmlns:a16="http://schemas.microsoft.com/office/drawing/2014/main" id="{46343C9A-0CE9-AB7A-C89C-4E2D607F5E2C}"/>
                </a:ext>
              </a:extLst>
            </p:cNvPr>
            <p:cNvSpPr/>
            <p:nvPr/>
          </p:nvSpPr>
          <p:spPr>
            <a:xfrm rot="13500000">
              <a:off x="6391781" y="38175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87" name="Group 86">
            <a:extLst>
              <a:ext uri="{FF2B5EF4-FFF2-40B4-BE49-F238E27FC236}">
                <a16:creationId xmlns:a16="http://schemas.microsoft.com/office/drawing/2014/main" id="{0A0C89DD-319E-0866-7074-F3537FD36D58}"/>
              </a:ext>
            </a:extLst>
          </p:cNvPr>
          <p:cNvGrpSpPr/>
          <p:nvPr/>
        </p:nvGrpSpPr>
        <p:grpSpPr>
          <a:xfrm>
            <a:off x="6275387" y="4514676"/>
            <a:ext cx="5473278" cy="470062"/>
            <a:chOff x="6275387" y="4365438"/>
            <a:chExt cx="5473278" cy="470062"/>
          </a:xfrm>
        </p:grpSpPr>
        <p:sp>
          <p:nvSpPr>
            <p:cNvPr id="8" name="Rectangle 7">
              <a:extLst>
                <a:ext uri="{FF2B5EF4-FFF2-40B4-BE49-F238E27FC236}">
                  <a16:creationId xmlns:a16="http://schemas.microsoft.com/office/drawing/2014/main" id="{002C2448-1794-BC12-EBC4-B1D37677FB37}"/>
                </a:ext>
              </a:extLst>
            </p:cNvPr>
            <p:cNvSpPr/>
            <p:nvPr/>
          </p:nvSpPr>
          <p:spPr>
            <a:xfrm>
              <a:off x="6275387" y="4365438"/>
              <a:ext cx="576263" cy="47006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4" name="Rectangle 43">
              <a:extLst>
                <a:ext uri="{FF2B5EF4-FFF2-40B4-BE49-F238E27FC236}">
                  <a16:creationId xmlns:a16="http://schemas.microsoft.com/office/drawing/2014/main" id="{7F93F93E-17ED-2FC6-1B9F-6433D12CA1A1}"/>
                </a:ext>
              </a:extLst>
            </p:cNvPr>
            <p:cNvSpPr/>
            <p:nvPr/>
          </p:nvSpPr>
          <p:spPr>
            <a:xfrm>
              <a:off x="6940127" y="4384568"/>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Kritiski nepieciešamo lietu komplekts, ja notiek evakuācija vai pārvietošanās uz patvertni</a:t>
              </a:r>
              <a:endParaRPr lang="lv-LV" sz="1400" b="0" i="0">
                <a:solidFill>
                  <a:schemeClr val="tx1"/>
                </a:solidFill>
                <a:effectLst/>
              </a:endParaRPr>
            </a:p>
          </p:txBody>
        </p:sp>
        <p:sp>
          <p:nvSpPr>
            <p:cNvPr id="48" name="L-Shape 47">
              <a:extLst>
                <a:ext uri="{FF2B5EF4-FFF2-40B4-BE49-F238E27FC236}">
                  <a16:creationId xmlns:a16="http://schemas.microsoft.com/office/drawing/2014/main" id="{F6473777-3753-7526-EB43-CB84F0EF3B84}"/>
                </a:ext>
              </a:extLst>
            </p:cNvPr>
            <p:cNvSpPr/>
            <p:nvPr/>
          </p:nvSpPr>
          <p:spPr>
            <a:xfrm rot="13500000">
              <a:off x="6391781" y="446408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93" name="Group 92">
            <a:extLst>
              <a:ext uri="{FF2B5EF4-FFF2-40B4-BE49-F238E27FC236}">
                <a16:creationId xmlns:a16="http://schemas.microsoft.com/office/drawing/2014/main" id="{531DF04B-66DE-3AE7-19C5-4F45D318150B}"/>
              </a:ext>
            </a:extLst>
          </p:cNvPr>
          <p:cNvGrpSpPr/>
          <p:nvPr/>
        </p:nvGrpSpPr>
        <p:grpSpPr>
          <a:xfrm>
            <a:off x="6275387" y="5702138"/>
            <a:ext cx="5473278" cy="470062"/>
            <a:chOff x="6275387" y="5658563"/>
            <a:chExt cx="5473278" cy="470062"/>
          </a:xfrm>
        </p:grpSpPr>
        <p:sp>
          <p:nvSpPr>
            <p:cNvPr id="10" name="Rectangle 9">
              <a:extLst>
                <a:ext uri="{FF2B5EF4-FFF2-40B4-BE49-F238E27FC236}">
                  <a16:creationId xmlns:a16="http://schemas.microsoft.com/office/drawing/2014/main" id="{054C3344-9203-645B-B188-35F0A35474F5}"/>
                </a:ext>
              </a:extLst>
            </p:cNvPr>
            <p:cNvSpPr/>
            <p:nvPr/>
          </p:nvSpPr>
          <p:spPr>
            <a:xfrm>
              <a:off x="6275387" y="5658563"/>
              <a:ext cx="576263" cy="47006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5" name="Rectangle 44">
              <a:extLst>
                <a:ext uri="{FF2B5EF4-FFF2-40B4-BE49-F238E27FC236}">
                  <a16:creationId xmlns:a16="http://schemas.microsoft.com/office/drawing/2014/main" id="{4A57608F-5CAD-99B5-1B39-CE768129B9EA}"/>
                </a:ext>
              </a:extLst>
            </p:cNvPr>
            <p:cNvSpPr/>
            <p:nvPr/>
          </p:nvSpPr>
          <p:spPr>
            <a:xfrm>
              <a:off x="6940127" y="5677693"/>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rgbClr val="212529"/>
                  </a:solidFill>
                </a:rPr>
                <a:t>Higiēnas un sanitārie līdzekļi</a:t>
              </a:r>
              <a:endParaRPr lang="lv-LV" sz="1400" b="0" i="0">
                <a:solidFill>
                  <a:srgbClr val="212529"/>
                </a:solidFill>
                <a:effectLst/>
              </a:endParaRPr>
            </a:p>
          </p:txBody>
        </p:sp>
        <p:sp>
          <p:nvSpPr>
            <p:cNvPr id="53" name="L-Shape 52">
              <a:extLst>
                <a:ext uri="{FF2B5EF4-FFF2-40B4-BE49-F238E27FC236}">
                  <a16:creationId xmlns:a16="http://schemas.microsoft.com/office/drawing/2014/main" id="{6295EB72-F903-1D37-8DB6-020C04AA6309}"/>
                </a:ext>
              </a:extLst>
            </p:cNvPr>
            <p:cNvSpPr/>
            <p:nvPr/>
          </p:nvSpPr>
          <p:spPr>
            <a:xfrm rot="13500000">
              <a:off x="6391781" y="575720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88" name="Group 87">
            <a:extLst>
              <a:ext uri="{FF2B5EF4-FFF2-40B4-BE49-F238E27FC236}">
                <a16:creationId xmlns:a16="http://schemas.microsoft.com/office/drawing/2014/main" id="{C92D1B10-F979-48C2-B24C-081F323555AE}"/>
              </a:ext>
            </a:extLst>
          </p:cNvPr>
          <p:cNvGrpSpPr/>
          <p:nvPr/>
        </p:nvGrpSpPr>
        <p:grpSpPr>
          <a:xfrm>
            <a:off x="6275387" y="5108406"/>
            <a:ext cx="5513714" cy="470062"/>
            <a:chOff x="6275387" y="5012001"/>
            <a:chExt cx="5513714" cy="470062"/>
          </a:xfrm>
        </p:grpSpPr>
        <p:sp>
          <p:nvSpPr>
            <p:cNvPr id="9" name="Rectangle 8">
              <a:extLst>
                <a:ext uri="{FF2B5EF4-FFF2-40B4-BE49-F238E27FC236}">
                  <a16:creationId xmlns:a16="http://schemas.microsoft.com/office/drawing/2014/main" id="{820331D3-9B19-3187-70F5-3FF99A16B7E6}"/>
                </a:ext>
              </a:extLst>
            </p:cNvPr>
            <p:cNvSpPr/>
            <p:nvPr/>
          </p:nvSpPr>
          <p:spPr>
            <a:xfrm>
              <a:off x="6275387" y="5012001"/>
              <a:ext cx="576263" cy="47006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1" name="L-Shape 50">
              <a:extLst>
                <a:ext uri="{FF2B5EF4-FFF2-40B4-BE49-F238E27FC236}">
                  <a16:creationId xmlns:a16="http://schemas.microsoft.com/office/drawing/2014/main" id="{03BF6B2D-1D60-1230-7480-4D2EC2E43E21}"/>
                </a:ext>
              </a:extLst>
            </p:cNvPr>
            <p:cNvSpPr/>
            <p:nvPr/>
          </p:nvSpPr>
          <p:spPr>
            <a:xfrm rot="13500000">
              <a:off x="6391781" y="511064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Rectangle 53">
              <a:extLst>
                <a:ext uri="{FF2B5EF4-FFF2-40B4-BE49-F238E27FC236}">
                  <a16:creationId xmlns:a16="http://schemas.microsoft.com/office/drawing/2014/main" id="{5E02FFDB-E252-9CAD-1747-04127CF5A267}"/>
                </a:ext>
              </a:extLst>
            </p:cNvPr>
            <p:cNvSpPr/>
            <p:nvPr/>
          </p:nvSpPr>
          <p:spPr>
            <a:xfrm>
              <a:off x="6980563" y="5031131"/>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a:solidFill>
                    <a:schemeClr val="tx1"/>
                  </a:solidFill>
                </a:rPr>
                <a:t>Alternatīvs autonoms siltuma avots gadījumiem, kad nestrādā centralizētā apkures sistēma</a:t>
              </a:r>
              <a:endParaRPr lang="lv-LV" sz="1400" b="0" i="0">
                <a:solidFill>
                  <a:schemeClr val="tx1"/>
                </a:solidFill>
                <a:effectLst/>
              </a:endParaRPr>
            </a:p>
          </p:txBody>
        </p:sp>
      </p:grpSp>
      <p:grpSp>
        <p:nvGrpSpPr>
          <p:cNvPr id="3" name="Group 2">
            <a:extLst>
              <a:ext uri="{FF2B5EF4-FFF2-40B4-BE49-F238E27FC236}">
                <a16:creationId xmlns:a16="http://schemas.microsoft.com/office/drawing/2014/main" id="{68E5A077-2D87-E0EB-B313-3454C3F845A0}"/>
              </a:ext>
            </a:extLst>
          </p:cNvPr>
          <p:cNvGrpSpPr/>
          <p:nvPr/>
        </p:nvGrpSpPr>
        <p:grpSpPr>
          <a:xfrm>
            <a:off x="9641294" y="157007"/>
            <a:ext cx="2107794" cy="220267"/>
            <a:chOff x="9641294" y="157007"/>
            <a:chExt cx="2107794" cy="220267"/>
          </a:xfrm>
        </p:grpSpPr>
        <p:sp>
          <p:nvSpPr>
            <p:cNvPr id="38" name="Rectangle 37">
              <a:extLst>
                <a:ext uri="{FF2B5EF4-FFF2-40B4-BE49-F238E27FC236}">
                  <a16:creationId xmlns:a16="http://schemas.microsoft.com/office/drawing/2014/main" id="{4CB3EE17-0A82-5495-5DE7-5DE35338B6BC}"/>
                </a:ext>
              </a:extLst>
            </p:cNvPr>
            <p:cNvSpPr/>
            <p:nvPr/>
          </p:nvSpPr>
          <p:spPr>
            <a:xfrm>
              <a:off x="10366138" y="159786"/>
              <a:ext cx="138295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Individuālā</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noturība</a:t>
              </a:r>
              <a:endParaRPr kumimoji="0" lang="en-US"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6D4140E8-BDF5-9CB5-32AE-C979824D52C7}"/>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5" name="Rectangle 54">
              <a:extLst>
                <a:ext uri="{FF2B5EF4-FFF2-40B4-BE49-F238E27FC236}">
                  <a16:creationId xmlns:a16="http://schemas.microsoft.com/office/drawing/2014/main" id="{F564EF06-8AC0-9A3F-9EFC-666CE4889F3F}"/>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6" name="Rectangle 55">
              <a:extLst>
                <a:ext uri="{FF2B5EF4-FFF2-40B4-BE49-F238E27FC236}">
                  <a16:creationId xmlns:a16="http://schemas.microsoft.com/office/drawing/2014/main" id="{84985AC3-D023-F167-5397-A8826D067A64}"/>
                </a:ext>
              </a:extLst>
            </p:cNvPr>
            <p:cNvSpPr/>
            <p:nvPr/>
          </p:nvSpPr>
          <p:spPr>
            <a:xfrm>
              <a:off x="10124522"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grpSp>
      <p:sp>
        <p:nvSpPr>
          <p:cNvPr id="22" name="Rectangle 21">
            <a:extLst>
              <a:ext uri="{FF2B5EF4-FFF2-40B4-BE49-F238E27FC236}">
                <a16:creationId xmlns:a16="http://schemas.microsoft.com/office/drawing/2014/main" id="{DAE9E604-1C25-457F-090B-9B5F2D4E578F}"/>
              </a:ext>
            </a:extLst>
          </p:cNvPr>
          <p:cNvSpPr/>
          <p:nvPr/>
        </p:nvSpPr>
        <p:spPr>
          <a:xfrm>
            <a:off x="442913" y="1813087"/>
            <a:ext cx="11306175" cy="74170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chorCtr="0">
            <a:noAutofit/>
          </a:bodyPr>
          <a:lstStyle/>
          <a:p>
            <a:pPr marR="0" lvl="0" algn="l" defTabSz="914400" rtl="0" eaLnBrk="1" fontAlgn="auto" latinLnBrk="0" hangingPunct="1">
              <a:lnSpc>
                <a:spcPct val="100000"/>
              </a:lnSpc>
              <a:spcBef>
                <a:spcPts val="0"/>
              </a:spcBef>
              <a:buClrTx/>
              <a:buSzTx/>
              <a:buFontTx/>
              <a:buBlip>
                <a:blip r:embed="rId6"/>
              </a:buBlip>
              <a:tabLst/>
              <a:defRPr/>
            </a:pPr>
            <a:r>
              <a:rPr lang="lv-LV" sz="1200">
                <a:solidFill>
                  <a:srgbClr val="000000"/>
                </a:solidFill>
                <a:latin typeface="Arial"/>
                <a:cs typeface="Arial"/>
              </a:rPr>
              <a:t> </a:t>
            </a:r>
            <a:r>
              <a:rPr lang="lv-LV" sz="1200" b="1">
                <a:solidFill>
                  <a:schemeClr val="tx1"/>
                </a:solidFill>
                <a:latin typeface="Arial" panose="020B0604020202020204" pitchFamily="34" charset="0"/>
              </a:rPr>
              <a:t>Operatīvie dienesti un pašvaldība palīdzību vispirms sniegs sociāli neaizsargātajām grupām un iedzīvotājiem, kuru dzīvība un veselība ir apdraudēta.</a:t>
            </a:r>
            <a:endParaRPr lang="en-US" sz="1200" b="1">
              <a:solidFill>
                <a:schemeClr val="tx1"/>
              </a:solidFill>
              <a:latin typeface="Arial" panose="020B0604020202020204" pitchFamily="34" charset="0"/>
            </a:endParaRPr>
          </a:p>
          <a:p>
            <a:pPr marR="0" lvl="0" algn="l" defTabSz="914400" rtl="0" eaLnBrk="1" fontAlgn="auto" latinLnBrk="0" hangingPunct="1">
              <a:lnSpc>
                <a:spcPct val="100000"/>
              </a:lnSpc>
              <a:spcBef>
                <a:spcPts val="0"/>
              </a:spcBef>
              <a:buClrTx/>
              <a:buSzTx/>
              <a:buFontTx/>
              <a:buBlip>
                <a:blip r:embed="rId6"/>
              </a:buBlip>
              <a:tabLst/>
              <a:defRPr/>
            </a:pPr>
            <a:r>
              <a:rPr lang="lv-LV" sz="1200" b="1">
                <a:solidFill>
                  <a:schemeClr val="tx1"/>
                </a:solidFill>
                <a:latin typeface="Arial" panose="020B0604020202020204" pitchFamily="34" charset="0"/>
              </a:rPr>
              <a:t> Lai ārkārtas situāciju gadījumā 72 stundas spētu iztikt bez ārējas palīdzības un sagatavotos nestandarta situācijām, ikvienam nepieciešams sagatavot mājas rezerves.</a:t>
            </a:r>
          </a:p>
        </p:txBody>
      </p:sp>
      <p:sp>
        <p:nvSpPr>
          <p:cNvPr id="14" name="TextBox 13">
            <a:extLst>
              <a:ext uri="{FF2B5EF4-FFF2-40B4-BE49-F238E27FC236}">
                <a16:creationId xmlns:a16="http://schemas.microsoft.com/office/drawing/2014/main" id="{4A303937-99C0-355B-60B4-D178257CF76C}"/>
              </a:ext>
            </a:extLst>
          </p:cNvPr>
          <p:cNvSpPr txBox="1"/>
          <p:nvPr/>
        </p:nvSpPr>
        <p:spPr>
          <a:xfrm>
            <a:off x="442913" y="6235092"/>
            <a:ext cx="37589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b="0" i="0" u="sng">
                <a:effectLst/>
                <a:latin typeface="Arial" panose="020B0604020202020204" pitchFamily="34" charset="0"/>
                <a:hlinkClick r:id="rId7">
                  <a:extLst>
                    <a:ext uri="{A12FA001-AC4F-418D-AE19-62706E023703}">
                      <ahyp:hlinkClr xmlns:ahyp="http://schemas.microsoft.com/office/drawing/2018/hyperlinkcolor" val="tx"/>
                    </a:ext>
                  </a:extLst>
                </a:hlinkClick>
              </a:rPr>
              <a:t>Rokasgrāmata "Kā rīkoties kara gadījumā"</a:t>
            </a:r>
            <a:endParaRPr lang="lv-LV" sz="1100" b="0" i="0">
              <a:effectLst/>
              <a:latin typeface="Arial" panose="020B0604020202020204" pitchFamily="34" charset="0"/>
            </a:endParaRPr>
          </a:p>
        </p:txBody>
      </p:sp>
      <p:sp>
        <p:nvSpPr>
          <p:cNvPr id="17" name="Freeform 50">
            <a:extLst>
              <a:ext uri="{FF2B5EF4-FFF2-40B4-BE49-F238E27FC236}">
                <a16:creationId xmlns:a16="http://schemas.microsoft.com/office/drawing/2014/main" id="{C354049E-F79D-1508-924D-6D3B4F0E25AB}"/>
              </a:ext>
            </a:extLst>
          </p:cNvPr>
          <p:cNvSpPr>
            <a:spLocks noChangeAspect="1"/>
          </p:cNvSpPr>
          <p:nvPr/>
        </p:nvSpPr>
        <p:spPr bwMode="auto">
          <a:xfrm>
            <a:off x="553441" y="635063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Tree>
    <p:extLst>
      <p:ext uri="{BB962C8B-B14F-4D97-AF65-F5344CB8AC3E}">
        <p14:creationId xmlns:p14="http://schemas.microsoft.com/office/powerpoint/2010/main" val="8022363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13545E-2120-F08C-5E8F-081952269536}"/>
              </a:ext>
            </a:extLst>
          </p:cNvPr>
          <p:cNvSpPr/>
          <p:nvPr/>
        </p:nvSpPr>
        <p:spPr>
          <a:xfrm>
            <a:off x="442913" y="1819275"/>
            <a:ext cx="74183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ā rīkoties, ja ir nepieciešams evakuēties?</a:t>
            </a:r>
          </a:p>
        </p:txBody>
      </p:sp>
      <p:sp>
        <p:nvSpPr>
          <p:cNvPr id="12" name="Rectangle 11">
            <a:extLst>
              <a:ext uri="{FF2B5EF4-FFF2-40B4-BE49-F238E27FC236}">
                <a16:creationId xmlns:a16="http://schemas.microsoft.com/office/drawing/2014/main" id="{531EC6BC-6224-CC85-15D9-1F663C792AFF}"/>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Google Shape;764;p79">
            <a:extLst>
              <a:ext uri="{FF2B5EF4-FFF2-40B4-BE49-F238E27FC236}">
                <a16:creationId xmlns:a16="http://schemas.microsoft.com/office/drawing/2014/main" id="{0CE2FE1C-CDFD-3C84-1EC3-45D73C29E698}"/>
              </a:ext>
            </a:extLst>
          </p:cNvPr>
          <p:cNvSpPr/>
          <p:nvPr/>
        </p:nvSpPr>
        <p:spPr>
          <a:xfrm>
            <a:off x="7392954" y="1927235"/>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Evakuācija</a:t>
            </a: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2</a:t>
            </a:fld>
            <a:endParaRPr lang="en-GB"/>
          </a:p>
        </p:txBody>
      </p:sp>
      <p:sp>
        <p:nvSpPr>
          <p:cNvPr id="22" name="Rectangle 21">
            <a:extLst>
              <a:ext uri="{FF2B5EF4-FFF2-40B4-BE49-F238E27FC236}">
                <a16:creationId xmlns:a16="http://schemas.microsoft.com/office/drawing/2014/main" id="{89375083-FFCA-9108-0E80-8EB60C92354F}"/>
              </a:ext>
            </a:extLst>
          </p:cNvPr>
          <p:cNvSpPr/>
          <p:nvPr/>
        </p:nvSpPr>
        <p:spPr>
          <a:xfrm>
            <a:off x="1107653" y="2538660"/>
            <a:ext cx="67536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Uzmanīgi ieklausieties paziņojumā par evakuācijas norisi, iegaumējiet un ievērojiet evakuācijas virzienu, galamērķi un pulcēšanās vietu.</a:t>
            </a:r>
          </a:p>
        </p:txBody>
      </p:sp>
      <p:sp>
        <p:nvSpPr>
          <p:cNvPr id="29" name="Rectangle 28">
            <a:extLst>
              <a:ext uri="{FF2B5EF4-FFF2-40B4-BE49-F238E27FC236}">
                <a16:creationId xmlns:a16="http://schemas.microsoft.com/office/drawing/2014/main" id="{CA699BD6-7797-FA80-74EA-2EC4D73A94F8}"/>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6197CAD8-7E6D-5CE1-8FCE-BC4213326B4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1" name="Straight Connector 30">
            <a:extLst>
              <a:ext uri="{FF2B5EF4-FFF2-40B4-BE49-F238E27FC236}">
                <a16:creationId xmlns:a16="http://schemas.microsoft.com/office/drawing/2014/main" id="{2642ED8E-F84F-A662-AE2F-E1A8A0D18A3F}"/>
              </a:ext>
            </a:extLst>
          </p:cNvPr>
          <p:cNvCxnSpPr>
            <a:cxnSpLocks/>
          </p:cNvCxnSpPr>
          <p:nvPr/>
        </p:nvCxnSpPr>
        <p:spPr>
          <a:xfrm>
            <a:off x="1108075" y="3221038"/>
            <a:ext cx="6753225"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6A4FD6DC-E4C1-D858-E054-0A05D8524AC5}"/>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3" name="Straight Connector 32">
            <a:extLst>
              <a:ext uri="{FF2B5EF4-FFF2-40B4-BE49-F238E27FC236}">
                <a16:creationId xmlns:a16="http://schemas.microsoft.com/office/drawing/2014/main" id="{F8A5A807-6B2C-833F-AAFD-6ED8724B1E7C}"/>
              </a:ext>
            </a:extLst>
          </p:cNvPr>
          <p:cNvCxnSpPr>
            <a:cxnSpLocks/>
          </p:cNvCxnSpPr>
          <p:nvPr/>
        </p:nvCxnSpPr>
        <p:spPr>
          <a:xfrm>
            <a:off x="1108075" y="3974881"/>
            <a:ext cx="6753225"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A5C9FF78-E511-95A4-9004-7E3E4FAB9DFF}"/>
              </a:ext>
            </a:extLst>
          </p:cNvPr>
          <p:cNvCxnSpPr>
            <a:cxnSpLocks/>
          </p:cNvCxnSpPr>
          <p:nvPr/>
        </p:nvCxnSpPr>
        <p:spPr>
          <a:xfrm>
            <a:off x="1108075" y="4731072"/>
            <a:ext cx="6753225"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F8DA8802-9BC8-065F-5AA6-BD78F056BC7A}"/>
              </a:ext>
            </a:extLst>
          </p:cNvPr>
          <p:cNvSpPr/>
          <p:nvPr/>
        </p:nvSpPr>
        <p:spPr>
          <a:xfrm>
            <a:off x="1107653" y="3291624"/>
            <a:ext cx="67536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iespējams, izmantojiet savu transportlīdzekli un brauciet norādītajā virzienā uz galamērķi vai uz iepriekš izvēlēto vietu, kur esat plānojis patverties un kas sakrīt ar evakuācijas virzienu.</a:t>
            </a:r>
          </a:p>
        </p:txBody>
      </p:sp>
      <p:sp>
        <p:nvSpPr>
          <p:cNvPr id="39" name="Rectangle 38">
            <a:extLst>
              <a:ext uri="{FF2B5EF4-FFF2-40B4-BE49-F238E27FC236}">
                <a16:creationId xmlns:a16="http://schemas.microsoft.com/office/drawing/2014/main" id="{0EF24B69-F68A-AA73-E401-29E429809714}"/>
              </a:ext>
            </a:extLst>
          </p:cNvPr>
          <p:cNvSpPr/>
          <p:nvPr/>
        </p:nvSpPr>
        <p:spPr>
          <a:xfrm>
            <a:off x="1107653" y="4047815"/>
            <a:ext cx="67536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Ja nav iespējams izmantot savu transportlīdzekli, dodieties uz tuvāko norādīto evakuācijas pulcēšanās vietu.</a:t>
            </a:r>
          </a:p>
        </p:txBody>
      </p:sp>
      <p:sp>
        <p:nvSpPr>
          <p:cNvPr id="43" name="Rectangle 42">
            <a:extLst>
              <a:ext uri="{FF2B5EF4-FFF2-40B4-BE49-F238E27FC236}">
                <a16:creationId xmlns:a16="http://schemas.microsoft.com/office/drawing/2014/main" id="{196EC982-36C1-885A-26A4-7ABFE845ED01}"/>
              </a:ext>
            </a:extLst>
          </p:cNvPr>
          <p:cNvSpPr/>
          <p:nvPr/>
        </p:nvSpPr>
        <p:spPr>
          <a:xfrm>
            <a:off x="1107653" y="4804006"/>
            <a:ext cx="67536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Evakuācijas gadījumā paziņojiet par to tuviniekiem.</a:t>
            </a:r>
          </a:p>
        </p:txBody>
      </p:sp>
      <p:sp>
        <p:nvSpPr>
          <p:cNvPr id="53" name="Rectangle 52">
            <a:extLst>
              <a:ext uri="{FF2B5EF4-FFF2-40B4-BE49-F238E27FC236}">
                <a16:creationId xmlns:a16="http://schemas.microsoft.com/office/drawing/2014/main" id="{D93A3DAA-C47E-CA59-BF85-A61659B7C446}"/>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4" name="L-Shape 53">
            <a:extLst>
              <a:ext uri="{FF2B5EF4-FFF2-40B4-BE49-F238E27FC236}">
                <a16:creationId xmlns:a16="http://schemas.microsoft.com/office/drawing/2014/main" id="{388DAEC4-DC2E-CAE5-494B-24595291DC63}"/>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Rectangle 54">
            <a:extLst>
              <a:ext uri="{FF2B5EF4-FFF2-40B4-BE49-F238E27FC236}">
                <a16:creationId xmlns:a16="http://schemas.microsoft.com/office/drawing/2014/main" id="{E54FB6DE-3B38-25F3-B60F-0C25657BA20D}"/>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7DA4F97D-4234-09CE-91F7-E3550F612279}"/>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Rectangle 59">
            <a:extLst>
              <a:ext uri="{FF2B5EF4-FFF2-40B4-BE49-F238E27FC236}">
                <a16:creationId xmlns:a16="http://schemas.microsoft.com/office/drawing/2014/main" id="{E57BEDAB-FFA0-4275-829B-000D39212D99}"/>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3" name="L-Shape 62">
            <a:extLst>
              <a:ext uri="{FF2B5EF4-FFF2-40B4-BE49-F238E27FC236}">
                <a16:creationId xmlns:a16="http://schemas.microsoft.com/office/drawing/2014/main" id="{47E05737-C554-CE19-8FC2-F0C9170BD887}"/>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40" name="Picture 39">
            <a:extLst>
              <a:ext uri="{FF2B5EF4-FFF2-40B4-BE49-F238E27FC236}">
                <a16:creationId xmlns:a16="http://schemas.microsoft.com/office/drawing/2014/main" id="{360C6401-39F6-5764-FAF9-39035DD2300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216932" y="1819275"/>
            <a:ext cx="3533608" cy="4352924"/>
          </a:xfrm>
          <a:prstGeom prst="rect">
            <a:avLst/>
          </a:prstGeom>
        </p:spPr>
      </p:pic>
      <p:sp>
        <p:nvSpPr>
          <p:cNvPr id="41" name="Rectangle 40">
            <a:extLst>
              <a:ext uri="{FF2B5EF4-FFF2-40B4-BE49-F238E27FC236}">
                <a16:creationId xmlns:a16="http://schemas.microsoft.com/office/drawing/2014/main" id="{BD66F586-80A7-65B1-7093-B8B3D45C9217}"/>
              </a:ext>
            </a:extLst>
          </p:cNvPr>
          <p:cNvSpPr/>
          <p:nvPr/>
        </p:nvSpPr>
        <p:spPr>
          <a:xfrm rot="5400000">
            <a:off x="9948069" y="4371975"/>
            <a:ext cx="71438" cy="35306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1" name="Rectangle 50">
            <a:extLst>
              <a:ext uri="{FF2B5EF4-FFF2-40B4-BE49-F238E27FC236}">
                <a16:creationId xmlns:a16="http://schemas.microsoft.com/office/drawing/2014/main" id="{046CB008-72B6-5DC8-B11F-C125E0ADC6A3}"/>
              </a:ext>
            </a:extLst>
          </p:cNvPr>
          <p:cNvSpPr/>
          <p:nvPr/>
        </p:nvSpPr>
        <p:spPr>
          <a:xfrm>
            <a:off x="442912" y="5560164"/>
            <a:ext cx="7418387" cy="61759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34400" tIns="72000" rIns="72000" bIns="72000" rtlCol="0" anchor="ctr"/>
          <a:lstStyle/>
          <a:p>
            <a:r>
              <a:rPr lang="lv-LV" sz="1400" b="1"/>
              <a:t>Atcerieties!</a:t>
            </a:r>
            <a:r>
              <a:rPr lang="en-US" sz="1400" b="1"/>
              <a:t> </a:t>
            </a:r>
            <a:r>
              <a:rPr lang="lv-LV" sz="1400"/>
              <a:t>Ja tas ir iespējams, pirms evakuācijas atslēdziet savam mājoklim gāzes un elektrības padevi.</a:t>
            </a:r>
          </a:p>
        </p:txBody>
      </p:sp>
      <p:grpSp>
        <p:nvGrpSpPr>
          <p:cNvPr id="10" name="Google Shape;707;p79">
            <a:extLst>
              <a:ext uri="{FF2B5EF4-FFF2-40B4-BE49-F238E27FC236}">
                <a16:creationId xmlns:a16="http://schemas.microsoft.com/office/drawing/2014/main" id="{79E28498-EC0B-DF21-87BE-9CBD8EF1BDA6}"/>
              </a:ext>
            </a:extLst>
          </p:cNvPr>
          <p:cNvGrpSpPr/>
          <p:nvPr/>
        </p:nvGrpSpPr>
        <p:grpSpPr>
          <a:xfrm>
            <a:off x="587484" y="5688778"/>
            <a:ext cx="360363" cy="360363"/>
            <a:chOff x="4276447" y="6040963"/>
            <a:chExt cx="457199" cy="457200"/>
          </a:xfrm>
          <a:solidFill>
            <a:schemeClr val="bg1"/>
          </a:solidFill>
        </p:grpSpPr>
        <p:sp>
          <p:nvSpPr>
            <p:cNvPr id="13" name="Google Shape;708;p79">
              <a:extLst>
                <a:ext uri="{FF2B5EF4-FFF2-40B4-BE49-F238E27FC236}">
                  <a16:creationId xmlns:a16="http://schemas.microsoft.com/office/drawing/2014/main" id="{94387C94-F2FD-ECEB-6662-97F8AF15840C}"/>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4" name="Google Shape;709;p79">
              <a:extLst>
                <a:ext uri="{FF2B5EF4-FFF2-40B4-BE49-F238E27FC236}">
                  <a16:creationId xmlns:a16="http://schemas.microsoft.com/office/drawing/2014/main" id="{85FE4960-F8AF-2A7E-C754-2A8DA69C46A0}"/>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grpSp>
        <p:nvGrpSpPr>
          <p:cNvPr id="4" name="Group 3">
            <a:extLst>
              <a:ext uri="{FF2B5EF4-FFF2-40B4-BE49-F238E27FC236}">
                <a16:creationId xmlns:a16="http://schemas.microsoft.com/office/drawing/2014/main" id="{C3A87693-1358-9958-58BD-00A087E64A27}"/>
              </a:ext>
            </a:extLst>
          </p:cNvPr>
          <p:cNvGrpSpPr/>
          <p:nvPr/>
        </p:nvGrpSpPr>
        <p:grpSpPr>
          <a:xfrm>
            <a:off x="9641294" y="157007"/>
            <a:ext cx="2107794" cy="220267"/>
            <a:chOff x="9641294" y="157007"/>
            <a:chExt cx="2107794" cy="220267"/>
          </a:xfrm>
        </p:grpSpPr>
        <p:sp>
          <p:nvSpPr>
            <p:cNvPr id="5" name="Rectangle 4">
              <a:extLst>
                <a:ext uri="{FF2B5EF4-FFF2-40B4-BE49-F238E27FC236}">
                  <a16:creationId xmlns:a16="http://schemas.microsoft.com/office/drawing/2014/main" id="{B1278064-9CE9-46B7-7AEC-88BDDB78EFC2}"/>
                </a:ext>
              </a:extLst>
            </p:cNvPr>
            <p:cNvSpPr/>
            <p:nvPr/>
          </p:nvSpPr>
          <p:spPr>
            <a:xfrm>
              <a:off x="10366138" y="159786"/>
              <a:ext cx="138295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Individuālā</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noturība</a:t>
              </a:r>
              <a:endParaRPr kumimoji="0" lang="en-US" sz="800" b="1" i="0" u="none" strike="noStrike" kern="0" cap="none" spc="0" normalizeH="0" baseline="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C6FB013E-85C3-329C-5C5A-8AF6ADA8A638}"/>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8027A590-A308-A7BD-BCC7-B7044221EA62}"/>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DB4EE489-8314-893A-8566-451BF047F3DA}"/>
                </a:ext>
              </a:extLst>
            </p:cNvPr>
            <p:cNvSpPr/>
            <p:nvPr/>
          </p:nvSpPr>
          <p:spPr>
            <a:xfrm>
              <a:off x="10124522"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grpSp>
    </p:spTree>
    <p:extLst>
      <p:ext uri="{BB962C8B-B14F-4D97-AF65-F5344CB8AC3E}">
        <p14:creationId xmlns:p14="http://schemas.microsoft.com/office/powerpoint/2010/main" val="14750813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1B8A44E7-19E5-A20C-F48D-594110954FB3}"/>
              </a:ext>
            </a:extLst>
          </p:cNvPr>
          <p:cNvGraphicFramePr>
            <a:graphicFrameLocks noChangeAspect="1"/>
          </p:cNvGraphicFramePr>
          <p:nvPr>
            <p:custDataLst>
              <p:tags r:id="rId1"/>
            </p:custDataLst>
            <p:extLst>
              <p:ext uri="{D42A27DB-BD31-4B8C-83A1-F6EECF244321}">
                <p14:modId xmlns:p14="http://schemas.microsoft.com/office/powerpoint/2010/main" val="222843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6" name="think-cell data - do not delete" hidden="1">
                        <a:extLst>
                          <a:ext uri="{FF2B5EF4-FFF2-40B4-BE49-F238E27FC236}">
                            <a16:creationId xmlns:a16="http://schemas.microsoft.com/office/drawing/2014/main" id="{1B8A44E7-19E5-A20C-F48D-594110954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D19ED60-FB40-3E6A-F0F4-727C7A4C53D7}"/>
              </a:ext>
            </a:extLst>
          </p:cNvPr>
          <p:cNvSpPr>
            <a:spLocks noGrp="1"/>
          </p:cNvSpPr>
          <p:nvPr>
            <p:ph type="title"/>
          </p:nvPr>
        </p:nvSpPr>
        <p:spPr>
          <a:xfrm>
            <a:off x="442913" y="432001"/>
            <a:ext cx="11306175" cy="1387274"/>
          </a:xfrm>
        </p:spPr>
        <p:txBody>
          <a:bodyPr vert="horz"/>
          <a:lstStyle/>
          <a:p>
            <a:r>
              <a:rPr lang="lv-LV"/>
              <a:t>Patvertņu izveide un to prasības</a:t>
            </a:r>
            <a:endParaRPr lang="en-GB"/>
          </a:p>
        </p:txBody>
      </p:sp>
      <p:sp>
        <p:nvSpPr>
          <p:cNvPr id="4" name="Slide Number Placeholder 3">
            <a:extLst>
              <a:ext uri="{FF2B5EF4-FFF2-40B4-BE49-F238E27FC236}">
                <a16:creationId xmlns:a16="http://schemas.microsoft.com/office/drawing/2014/main" id="{01F75C5C-E0ED-171A-FD9C-3FD431847ADE}"/>
              </a:ext>
            </a:extLst>
          </p:cNvPr>
          <p:cNvSpPr>
            <a:spLocks noGrp="1"/>
          </p:cNvSpPr>
          <p:nvPr>
            <p:ph type="sldNum" sz="quarter" idx="11"/>
          </p:nvPr>
        </p:nvSpPr>
        <p:spPr/>
        <p:txBody>
          <a:bodyPr/>
          <a:lstStyle/>
          <a:p>
            <a:fld id="{7870704B-CE94-48CC-AF30-84932A1262A7}" type="slidenum">
              <a:rPr lang="en-GB" smtClean="0"/>
              <a:pPr/>
              <a:t>33</a:t>
            </a:fld>
            <a:endParaRPr lang="en-GB"/>
          </a:p>
        </p:txBody>
      </p:sp>
      <p:sp>
        <p:nvSpPr>
          <p:cNvPr id="7" name="Rectangle 6">
            <a:extLst>
              <a:ext uri="{FF2B5EF4-FFF2-40B4-BE49-F238E27FC236}">
                <a16:creationId xmlns:a16="http://schemas.microsoft.com/office/drawing/2014/main" id="{52823122-2178-6146-CAE1-A73089AB22A3}"/>
              </a:ext>
            </a:extLst>
          </p:cNvPr>
          <p:cNvSpPr/>
          <p:nvPr/>
        </p:nvSpPr>
        <p:spPr>
          <a:xfrm>
            <a:off x="8218488" y="1818146"/>
            <a:ext cx="3530600" cy="334687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endParaRPr lang="lv-LV" sz="1400" b="1">
              <a:solidFill>
                <a:srgbClr val="C00000"/>
              </a:solidFill>
              <a:latin typeface="Arial" panose="020B0604020202020204" pitchFamily="34" charset="0"/>
            </a:endParaRPr>
          </a:p>
        </p:txBody>
      </p:sp>
      <p:pic>
        <p:nvPicPr>
          <p:cNvPr id="5122" name="Picture 2" descr="Patvertnes zīme: Zaļš kvadrāts, kuram pa vidu ir vairoga forma baltā krāsā. Vairogam vidū izvietota zaļa mājas figūra, kurā iekšā ievietoti četru cilvēku silueti baltā krāsā">
            <a:extLst>
              <a:ext uri="{FF2B5EF4-FFF2-40B4-BE49-F238E27FC236}">
                <a16:creationId xmlns:a16="http://schemas.microsoft.com/office/drawing/2014/main" id="{FF042E1A-71D6-EBB4-DAE5-6D7BEA16A49A}"/>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218488" y="1818146"/>
            <a:ext cx="3530598" cy="3548251"/>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6C868474-8FA5-9D0A-A7DE-4C5F33CDA8A6}"/>
              </a:ext>
            </a:extLst>
          </p:cNvPr>
          <p:cNvSpPr/>
          <p:nvPr/>
        </p:nvSpPr>
        <p:spPr>
          <a:xfrm>
            <a:off x="442914" y="1819275"/>
            <a:ext cx="6771498" cy="73856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r>
              <a:rPr lang="lv-LV" sz="1400" b="1">
                <a:solidFill>
                  <a:schemeClr val="bg1"/>
                </a:solidFill>
              </a:rPr>
              <a:t>Patvertnes paredzēts izmantot kara vai militāra apdraudējuma gadījumā, lai dotu iespēju iedzīvotājiem patverties un mazinātu sprādziena triecienviļņa, šķembu, siltumstarojuma vai radiācijas piesārņojuma ietekmi.</a:t>
            </a:r>
          </a:p>
        </p:txBody>
      </p:sp>
      <p:sp>
        <p:nvSpPr>
          <p:cNvPr id="32" name="Rectangle 31">
            <a:extLst>
              <a:ext uri="{FF2B5EF4-FFF2-40B4-BE49-F238E27FC236}">
                <a16:creationId xmlns:a16="http://schemas.microsoft.com/office/drawing/2014/main" id="{4B0A2F5A-F216-025C-CF24-8E94B11CC89A}"/>
              </a:ext>
            </a:extLst>
          </p:cNvPr>
          <p:cNvSpPr/>
          <p:nvPr/>
        </p:nvSpPr>
        <p:spPr>
          <a:xfrm>
            <a:off x="7122740" y="1819275"/>
            <a:ext cx="738560" cy="73856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Rectangle 33">
            <a:extLst>
              <a:ext uri="{FF2B5EF4-FFF2-40B4-BE49-F238E27FC236}">
                <a16:creationId xmlns:a16="http://schemas.microsoft.com/office/drawing/2014/main" id="{9EC21924-C562-6A20-3560-ED5B8BFE431A}"/>
              </a:ext>
            </a:extLst>
          </p:cNvPr>
          <p:cNvSpPr/>
          <p:nvPr/>
        </p:nvSpPr>
        <p:spPr>
          <a:xfrm>
            <a:off x="7051620" y="1819275"/>
            <a:ext cx="72000" cy="7381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Google Shape;1800;p93">
            <a:extLst>
              <a:ext uri="{FF2B5EF4-FFF2-40B4-BE49-F238E27FC236}">
                <a16:creationId xmlns:a16="http://schemas.microsoft.com/office/drawing/2014/main" id="{3AE8FC83-84F4-AD93-3DA8-176A0E32392F}"/>
              </a:ext>
            </a:extLst>
          </p:cNvPr>
          <p:cNvSpPr/>
          <p:nvPr/>
        </p:nvSpPr>
        <p:spPr>
          <a:xfrm>
            <a:off x="7312020" y="2008555"/>
            <a:ext cx="360000" cy="360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 name="Rectangle 14">
            <a:extLst>
              <a:ext uri="{FF2B5EF4-FFF2-40B4-BE49-F238E27FC236}">
                <a16:creationId xmlns:a16="http://schemas.microsoft.com/office/drawing/2014/main" id="{4E55A34D-00FC-AA58-AE76-AF9694B7E9B8}"/>
              </a:ext>
            </a:extLst>
          </p:cNvPr>
          <p:cNvSpPr/>
          <p:nvPr/>
        </p:nvSpPr>
        <p:spPr>
          <a:xfrm>
            <a:off x="8218488" y="5415281"/>
            <a:ext cx="3530599" cy="75691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100">
                <a:solidFill>
                  <a:schemeClr val="tx1"/>
                </a:solidFill>
                <a:hlinkClick r:id="rId7">
                  <a:extLst>
                    <a:ext uri="{A12FA001-AC4F-418D-AE19-62706E023703}">
                      <ahyp:hlinkClr xmlns:ahyp="http://schemas.microsoft.com/office/drawing/2018/hyperlinkcolor" val="tx"/>
                    </a:ext>
                  </a:extLst>
                </a:hlinkClick>
              </a:rPr>
              <a:t>Plašāk par minimālajām tehniskajām prasībām un papildu ieteikumiem skatīt Vadlīnijas potenciālo patvertņu minimālajām tehniskajām prasībām</a:t>
            </a:r>
            <a:endParaRPr lang="lv-LV" sz="1100">
              <a:solidFill>
                <a:schemeClr val="tx1"/>
              </a:solidFill>
            </a:endParaRPr>
          </a:p>
        </p:txBody>
      </p:sp>
      <p:sp>
        <p:nvSpPr>
          <p:cNvPr id="16" name="Freeform 50">
            <a:extLst>
              <a:ext uri="{FF2B5EF4-FFF2-40B4-BE49-F238E27FC236}">
                <a16:creationId xmlns:a16="http://schemas.microsoft.com/office/drawing/2014/main" id="{ED0923EA-A27F-F1CF-2E82-3D26491C6662}"/>
              </a:ext>
            </a:extLst>
          </p:cNvPr>
          <p:cNvSpPr>
            <a:spLocks noChangeAspect="1"/>
          </p:cNvSpPr>
          <p:nvPr/>
        </p:nvSpPr>
        <p:spPr bwMode="auto">
          <a:xfrm>
            <a:off x="8349088" y="56521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sp>
        <p:nvSpPr>
          <p:cNvPr id="6" name="TextBox 5">
            <a:extLst>
              <a:ext uri="{FF2B5EF4-FFF2-40B4-BE49-F238E27FC236}">
                <a16:creationId xmlns:a16="http://schemas.microsoft.com/office/drawing/2014/main" id="{01643C58-DCAE-089A-ACA4-486D3034766A}"/>
              </a:ext>
            </a:extLst>
          </p:cNvPr>
          <p:cNvSpPr txBox="1"/>
          <p:nvPr/>
        </p:nvSpPr>
        <p:spPr>
          <a:xfrm>
            <a:off x="442912" y="2557835"/>
            <a:ext cx="7418388" cy="360000"/>
          </a:xfrm>
          <a:prstGeom prst="rect">
            <a:avLst/>
          </a:prstGeom>
          <a:solidFill>
            <a:srgbClr val="D18D85"/>
          </a:solidFill>
        </p:spPr>
        <p:txBody>
          <a:bodyPr wrap="square" lIns="72000" tIns="72000" rIns="72000" bIns="72000" anchor="ctr">
            <a:noAutofit/>
          </a:bodyPr>
          <a:lstStyle/>
          <a:p>
            <a:pPr marL="0" lvl="1"/>
            <a:r>
              <a:rPr lang="lv-LV" sz="1400" b="1">
                <a:solidFill>
                  <a:srgbClr val="212529"/>
                </a:solidFill>
              </a:rPr>
              <a:t>Privātpersonas</a:t>
            </a:r>
            <a:r>
              <a:rPr lang="lv-LV" sz="1400">
                <a:solidFill>
                  <a:srgbClr val="212529"/>
                </a:solidFill>
              </a:rPr>
              <a:t> var izveidot 2 veidu patvertnes: </a:t>
            </a:r>
            <a:endParaRPr lang="lv-LV" sz="1400">
              <a:solidFill>
                <a:srgbClr val="212529"/>
              </a:solidFill>
              <a:cs typeface="Arial"/>
            </a:endParaRPr>
          </a:p>
        </p:txBody>
      </p:sp>
      <p:sp>
        <p:nvSpPr>
          <p:cNvPr id="8" name="Rectangle 7">
            <a:extLst>
              <a:ext uri="{FF2B5EF4-FFF2-40B4-BE49-F238E27FC236}">
                <a16:creationId xmlns:a16="http://schemas.microsoft.com/office/drawing/2014/main" id="{1CE0BD0A-C0FD-53FC-2622-ABA62203BE2A}"/>
              </a:ext>
            </a:extLst>
          </p:cNvPr>
          <p:cNvSpPr/>
          <p:nvPr/>
        </p:nvSpPr>
        <p:spPr>
          <a:xfrm>
            <a:off x="1107653" y="3065290"/>
            <a:ext cx="67536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Savā īpašumā esošajā pagrabstāvā vai pazemes stāvā patvertne, kas paredzēta tikai attiecīgās ēkas iedzīvotājiem (saskaņā ar VUGD vadlīnijām).</a:t>
            </a:r>
          </a:p>
        </p:txBody>
      </p:sp>
      <p:sp>
        <p:nvSpPr>
          <p:cNvPr id="9" name="Rectangle 8">
            <a:extLst>
              <a:ext uri="{FF2B5EF4-FFF2-40B4-BE49-F238E27FC236}">
                <a16:creationId xmlns:a16="http://schemas.microsoft.com/office/drawing/2014/main" id="{C7C2874E-79AE-932F-6B8C-33BDBAFD9B0E}"/>
              </a:ext>
            </a:extLst>
          </p:cNvPr>
          <p:cNvSpPr/>
          <p:nvPr/>
        </p:nvSpPr>
        <p:spPr>
          <a:xfrm>
            <a:off x="442913" y="306529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 name="L-Shape 9">
            <a:extLst>
              <a:ext uri="{FF2B5EF4-FFF2-40B4-BE49-F238E27FC236}">
                <a16:creationId xmlns:a16="http://schemas.microsoft.com/office/drawing/2014/main" id="{F6959393-D523-81D8-8DE7-C82B383C9AEA}"/>
              </a:ext>
            </a:extLst>
          </p:cNvPr>
          <p:cNvSpPr/>
          <p:nvPr/>
        </p:nvSpPr>
        <p:spPr>
          <a:xfrm rot="13500000">
            <a:off x="559307" y="323490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11" name="Straight Connector 10">
            <a:extLst>
              <a:ext uri="{FF2B5EF4-FFF2-40B4-BE49-F238E27FC236}">
                <a16:creationId xmlns:a16="http://schemas.microsoft.com/office/drawing/2014/main" id="{89456A82-C2F9-1AD9-D3BD-F7AA09705EEF}"/>
              </a:ext>
            </a:extLst>
          </p:cNvPr>
          <p:cNvCxnSpPr>
            <a:cxnSpLocks/>
          </p:cNvCxnSpPr>
          <p:nvPr/>
        </p:nvCxnSpPr>
        <p:spPr>
          <a:xfrm>
            <a:off x="1108075" y="3747668"/>
            <a:ext cx="6753225"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2" name="Rectangle 11">
            <a:extLst>
              <a:ext uri="{FF2B5EF4-FFF2-40B4-BE49-F238E27FC236}">
                <a16:creationId xmlns:a16="http://schemas.microsoft.com/office/drawing/2014/main" id="{972A7998-816F-826F-D470-21259763D3BA}"/>
              </a:ext>
            </a:extLst>
          </p:cNvPr>
          <p:cNvSpPr/>
          <p:nvPr/>
        </p:nvSpPr>
        <p:spPr>
          <a:xfrm>
            <a:off x="1107653" y="3818254"/>
            <a:ext cx="6753647" cy="83163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400" b="0" i="0">
                <a:solidFill>
                  <a:schemeClr val="tx1"/>
                </a:solidFill>
                <a:effectLst/>
              </a:rPr>
              <a:t>Savā īpašumā esošajā pagrabstāvā vai pazemes stāvā patvertne, kura būs pieejama jebkurai personai, kura atradīsies tās tuvumā (jāsaskaņo ar Pašvaldību). </a:t>
            </a:r>
            <a:r>
              <a:rPr lang="lv-LV" sz="1400" b="1" i="0">
                <a:solidFill>
                  <a:schemeClr val="tx1"/>
                </a:solidFill>
                <a:effectLst/>
              </a:rPr>
              <a:t>Pie publiskās patvertnes tiek izvietota zīme, kas norāda, ka būvē ierīkota patvertne.</a:t>
            </a:r>
          </a:p>
        </p:txBody>
      </p:sp>
      <p:sp>
        <p:nvSpPr>
          <p:cNvPr id="13" name="Rectangle 12">
            <a:extLst>
              <a:ext uri="{FF2B5EF4-FFF2-40B4-BE49-F238E27FC236}">
                <a16:creationId xmlns:a16="http://schemas.microsoft.com/office/drawing/2014/main" id="{537F67BD-7488-9162-EA91-5BC2E2622BCE}"/>
              </a:ext>
            </a:extLst>
          </p:cNvPr>
          <p:cNvSpPr/>
          <p:nvPr/>
        </p:nvSpPr>
        <p:spPr>
          <a:xfrm>
            <a:off x="442913" y="3820673"/>
            <a:ext cx="576263" cy="82921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4" name="L-Shape 13">
            <a:extLst>
              <a:ext uri="{FF2B5EF4-FFF2-40B4-BE49-F238E27FC236}">
                <a16:creationId xmlns:a16="http://schemas.microsoft.com/office/drawing/2014/main" id="{A8B12464-A964-CFAA-65EA-FF5EC36728B1}"/>
              </a:ext>
            </a:extLst>
          </p:cNvPr>
          <p:cNvSpPr/>
          <p:nvPr/>
        </p:nvSpPr>
        <p:spPr>
          <a:xfrm rot="13500000">
            <a:off x="559307" y="409889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38" name="Picture 37">
            <a:extLst>
              <a:ext uri="{FF2B5EF4-FFF2-40B4-BE49-F238E27FC236}">
                <a16:creationId xmlns:a16="http://schemas.microsoft.com/office/drawing/2014/main" id="{B97130AB-8F2F-9E4F-6699-B48F0E809F2F}"/>
              </a:ext>
            </a:extLst>
          </p:cNvPr>
          <p:cNvPicPr>
            <a:picLocks noChangeAspect="1"/>
          </p:cNvPicPr>
          <p:nvPr/>
        </p:nvPicPr>
        <p:blipFill rotWithShape="1">
          <a:blip r:embed="rId8"/>
          <a:srcRect l="6532" t="28576" r="21491" b="51281"/>
          <a:stretch/>
        </p:blipFill>
        <p:spPr>
          <a:xfrm>
            <a:off x="457668" y="4790857"/>
            <a:ext cx="7403632" cy="1381342"/>
          </a:xfrm>
          <a:prstGeom prst="rect">
            <a:avLst/>
          </a:prstGeom>
        </p:spPr>
      </p:pic>
      <p:grpSp>
        <p:nvGrpSpPr>
          <p:cNvPr id="40" name="Group 39">
            <a:extLst>
              <a:ext uri="{FF2B5EF4-FFF2-40B4-BE49-F238E27FC236}">
                <a16:creationId xmlns:a16="http://schemas.microsoft.com/office/drawing/2014/main" id="{C24AEE0D-4C80-CF2E-1EE2-39DBBCA3C7E6}"/>
              </a:ext>
            </a:extLst>
          </p:cNvPr>
          <p:cNvGrpSpPr/>
          <p:nvPr/>
        </p:nvGrpSpPr>
        <p:grpSpPr>
          <a:xfrm>
            <a:off x="9641294" y="157007"/>
            <a:ext cx="2107794" cy="220267"/>
            <a:chOff x="9641294" y="157007"/>
            <a:chExt cx="2107794" cy="220267"/>
          </a:xfrm>
        </p:grpSpPr>
        <p:sp>
          <p:nvSpPr>
            <p:cNvPr id="41" name="Rectangle 40">
              <a:extLst>
                <a:ext uri="{FF2B5EF4-FFF2-40B4-BE49-F238E27FC236}">
                  <a16:creationId xmlns:a16="http://schemas.microsoft.com/office/drawing/2014/main" id="{37EC7041-0A60-D646-A013-B9E0816B6A62}"/>
                </a:ext>
              </a:extLst>
            </p:cNvPr>
            <p:cNvSpPr/>
            <p:nvPr/>
          </p:nvSpPr>
          <p:spPr>
            <a:xfrm>
              <a:off x="10366138" y="159786"/>
              <a:ext cx="138295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Individuālā</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noturība</a:t>
              </a:r>
              <a:endParaRPr kumimoji="0" lang="en-US" sz="800" b="1" i="0" u="none" strike="noStrike" kern="0" cap="none" spc="0" normalizeH="0" baseline="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114E947E-2F8A-BAD9-D9AB-9502D426C5F8}"/>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21E04257-1C96-6D46-4157-285EBCAA82BC}"/>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C0D018E7-FA8C-1224-DD89-4EB311BCE0D4}"/>
                </a:ext>
              </a:extLst>
            </p:cNvPr>
            <p:cNvSpPr/>
            <p:nvPr/>
          </p:nvSpPr>
          <p:spPr>
            <a:xfrm>
              <a:off x="10124522"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grpSp>
    </p:spTree>
    <p:extLst>
      <p:ext uri="{BB962C8B-B14F-4D97-AF65-F5344CB8AC3E}">
        <p14:creationId xmlns:p14="http://schemas.microsoft.com/office/powerpoint/2010/main" val="17906404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19ED60-FB40-3E6A-F0F4-727C7A4C53D7}"/>
              </a:ext>
            </a:extLst>
          </p:cNvPr>
          <p:cNvSpPr>
            <a:spLocks noGrp="1"/>
          </p:cNvSpPr>
          <p:nvPr>
            <p:ph type="title"/>
          </p:nvPr>
        </p:nvSpPr>
        <p:spPr>
          <a:xfrm>
            <a:off x="442913" y="432001"/>
            <a:ext cx="11306175" cy="1387274"/>
          </a:xfrm>
        </p:spPr>
        <p:txBody>
          <a:bodyPr vert="horz"/>
          <a:lstStyle/>
          <a:p>
            <a:r>
              <a:rPr lang="lv-LV"/>
              <a:t>Patvertņu izveide un to prasības</a:t>
            </a:r>
          </a:p>
        </p:txBody>
      </p:sp>
      <p:sp>
        <p:nvSpPr>
          <p:cNvPr id="4" name="Slide Number Placeholder 3">
            <a:extLst>
              <a:ext uri="{FF2B5EF4-FFF2-40B4-BE49-F238E27FC236}">
                <a16:creationId xmlns:a16="http://schemas.microsoft.com/office/drawing/2014/main" id="{01F75C5C-E0ED-171A-FD9C-3FD431847ADE}"/>
              </a:ext>
            </a:extLst>
          </p:cNvPr>
          <p:cNvSpPr>
            <a:spLocks noGrp="1"/>
          </p:cNvSpPr>
          <p:nvPr>
            <p:ph type="sldNum" sz="quarter" idx="11"/>
          </p:nvPr>
        </p:nvSpPr>
        <p:spPr/>
        <p:txBody>
          <a:bodyPr/>
          <a:lstStyle/>
          <a:p>
            <a:fld id="{7870704B-CE94-48CC-AF30-84932A1262A7}" type="slidenum">
              <a:rPr lang="lv-LV" smtClean="0"/>
              <a:pPr/>
              <a:t>34</a:t>
            </a:fld>
            <a:endParaRPr lang="lv-LV"/>
          </a:p>
        </p:txBody>
      </p:sp>
      <p:sp>
        <p:nvSpPr>
          <p:cNvPr id="7" name="Rectangle 6">
            <a:extLst>
              <a:ext uri="{FF2B5EF4-FFF2-40B4-BE49-F238E27FC236}">
                <a16:creationId xmlns:a16="http://schemas.microsoft.com/office/drawing/2014/main" id="{52823122-2178-6146-CAE1-A73089AB22A3}"/>
              </a:ext>
            </a:extLst>
          </p:cNvPr>
          <p:cNvSpPr/>
          <p:nvPr/>
        </p:nvSpPr>
        <p:spPr>
          <a:xfrm>
            <a:off x="8218488" y="1818146"/>
            <a:ext cx="3530600" cy="334687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endParaRPr lang="lv-LV" sz="1400" b="1">
              <a:solidFill>
                <a:srgbClr val="C00000"/>
              </a:solidFill>
              <a:latin typeface="Arial" panose="020B0604020202020204" pitchFamily="34" charset="0"/>
            </a:endParaRPr>
          </a:p>
        </p:txBody>
      </p:sp>
      <p:sp>
        <p:nvSpPr>
          <p:cNvPr id="36" name="Rectangle 35">
            <a:extLst>
              <a:ext uri="{FF2B5EF4-FFF2-40B4-BE49-F238E27FC236}">
                <a16:creationId xmlns:a16="http://schemas.microsoft.com/office/drawing/2014/main" id="{2D8E69C8-6B9D-7B36-6B28-D62A2C35F158}"/>
              </a:ext>
            </a:extLst>
          </p:cNvPr>
          <p:cNvSpPr/>
          <p:nvPr/>
        </p:nvSpPr>
        <p:spPr>
          <a:xfrm>
            <a:off x="442913" y="2395275"/>
            <a:ext cx="7418388" cy="377692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228600" lvl="1" indent="-228600" algn="l">
              <a:spcAft>
                <a:spcPts val="600"/>
              </a:spcAft>
              <a:buFont typeface="+mj-lt"/>
              <a:buAutoNum type="arabicPeriod"/>
            </a:pPr>
            <a:r>
              <a:rPr lang="lv-LV" sz="1100" b="0" i="0">
                <a:solidFill>
                  <a:srgbClr val="212529"/>
                </a:solidFill>
                <a:effectLst/>
              </a:rPr>
              <a:t>Labākā izvēle ir pagrabs ar dzelzsbetona pārsegumu un mūra</a:t>
            </a:r>
            <a:r>
              <a:rPr lang="lv-LV" sz="1100">
                <a:solidFill>
                  <a:srgbClr val="212529"/>
                </a:solidFill>
              </a:rPr>
              <a:t> </a:t>
            </a:r>
            <a:r>
              <a:rPr lang="lv-LV" sz="1100" b="0" i="0">
                <a:solidFill>
                  <a:srgbClr val="212529"/>
                </a:solidFill>
                <a:effectLst/>
              </a:rPr>
              <a:t>sienām.</a:t>
            </a:r>
          </a:p>
          <a:p>
            <a:pPr marL="228600" lvl="1" indent="-228600" algn="l">
              <a:spcAft>
                <a:spcPts val="600"/>
              </a:spcAft>
              <a:buFont typeface="+mj-lt"/>
              <a:buAutoNum type="arabicPeriod"/>
            </a:pPr>
            <a:r>
              <a:rPr lang="lv-LV" sz="1100">
                <a:solidFill>
                  <a:srgbClr val="212529"/>
                </a:solidFill>
              </a:rPr>
              <a:t>Jāi</a:t>
            </a:r>
            <a:r>
              <a:rPr lang="lv-LV" sz="1100" b="0" i="0">
                <a:solidFill>
                  <a:srgbClr val="212529"/>
                </a:solidFill>
                <a:effectLst/>
              </a:rPr>
              <a:t>zveido gar sienām plauktus no izturīga materiāla, kas var nodrošināt papildu atbalstu sienai, pildīt plauktu, kā arī gultas vietas funkciju.</a:t>
            </a:r>
          </a:p>
          <a:p>
            <a:pPr marL="228600" lvl="1" indent="-228600">
              <a:spcAft>
                <a:spcPts val="600"/>
              </a:spcAft>
              <a:buFont typeface="+mj-lt"/>
              <a:buAutoNum type="arabicPeriod"/>
            </a:pPr>
            <a:r>
              <a:rPr lang="lv-LV" sz="1100">
                <a:solidFill>
                  <a:srgbClr val="212529"/>
                </a:solidFill>
              </a:rPr>
              <a:t>Jāp</a:t>
            </a:r>
            <a:r>
              <a:rPr lang="lv-LV" sz="1100" b="0" i="0">
                <a:solidFill>
                  <a:srgbClr val="212529"/>
                </a:solidFill>
                <a:effectLst/>
              </a:rPr>
              <a:t>aredz vai </a:t>
            </a:r>
            <a:r>
              <a:rPr lang="lv-LV" sz="1100">
                <a:solidFill>
                  <a:srgbClr val="212529"/>
                </a:solidFill>
              </a:rPr>
              <a:t>jā</a:t>
            </a:r>
            <a:r>
              <a:rPr lang="lv-LV" sz="1100" b="0" i="0">
                <a:solidFill>
                  <a:srgbClr val="212529"/>
                </a:solidFill>
                <a:effectLst/>
              </a:rPr>
              <a:t>izveido rezerves izeja no patvēruma.</a:t>
            </a:r>
          </a:p>
          <a:p>
            <a:pPr marL="228600" lvl="1" indent="-228600">
              <a:spcAft>
                <a:spcPts val="600"/>
              </a:spcAft>
              <a:buFont typeface="+mj-lt"/>
              <a:buAutoNum type="arabicPeriod"/>
            </a:pPr>
            <a:r>
              <a:rPr lang="lv-LV" sz="1100" b="0" i="0">
                <a:solidFill>
                  <a:srgbClr val="212529"/>
                </a:solidFill>
                <a:effectLst/>
              </a:rPr>
              <a:t>Jāizveido ventilācijas sistēma.</a:t>
            </a:r>
          </a:p>
          <a:p>
            <a:pPr marL="228600" lvl="1" indent="-228600">
              <a:spcAft>
                <a:spcPts val="600"/>
              </a:spcAft>
              <a:buFont typeface="+mj-lt"/>
              <a:buAutoNum type="arabicPeriod"/>
            </a:pPr>
            <a:r>
              <a:rPr lang="lv-LV" sz="1100">
                <a:solidFill>
                  <a:srgbClr val="212529"/>
                </a:solidFill>
              </a:rPr>
              <a:t>Jāp</a:t>
            </a:r>
            <a:r>
              <a:rPr lang="lv-LV" sz="1100" b="0" i="0">
                <a:solidFill>
                  <a:srgbClr val="212529"/>
                </a:solidFill>
                <a:effectLst/>
              </a:rPr>
              <a:t>adomā par neatkarīgu apkures sistēmu (krāsniņu), jāizveido dūmu/gāzes izplūdes sistēma, neaizmirstot par ugunsdrošību.</a:t>
            </a:r>
          </a:p>
          <a:p>
            <a:pPr marL="228600" lvl="1" indent="-228600">
              <a:spcAft>
                <a:spcPts val="600"/>
              </a:spcAft>
              <a:buFont typeface="+mj-lt"/>
              <a:buAutoNum type="arabicPeriod"/>
            </a:pPr>
            <a:r>
              <a:rPr lang="lv-LV" sz="1100" b="0" i="0">
                <a:solidFill>
                  <a:srgbClr val="212529"/>
                </a:solidFill>
                <a:effectLst/>
              </a:rPr>
              <a:t>Ja pagrabam ir logi, jāsagatavo maisi, kas pildīti ar smiltīm vai</a:t>
            </a:r>
            <a:r>
              <a:rPr lang="lv-LV" sz="1100">
                <a:solidFill>
                  <a:srgbClr val="212529"/>
                </a:solidFill>
              </a:rPr>
              <a:t> </a:t>
            </a:r>
            <a:r>
              <a:rPr lang="lv-LV" sz="1100" b="0" i="0">
                <a:solidFill>
                  <a:srgbClr val="212529"/>
                </a:solidFill>
                <a:effectLst/>
              </a:rPr>
              <a:t>citiem beramiem materiāliem vai betona blokiem u.c., ar ko tos</a:t>
            </a:r>
            <a:r>
              <a:rPr lang="lv-LV" sz="1100">
                <a:solidFill>
                  <a:srgbClr val="212529"/>
                </a:solidFill>
              </a:rPr>
              <a:t> </a:t>
            </a:r>
            <a:r>
              <a:rPr lang="lv-LV" sz="1100" b="0" i="0">
                <a:solidFill>
                  <a:srgbClr val="212529"/>
                </a:solidFill>
                <a:effectLst/>
              </a:rPr>
              <a:t>aizsegt.</a:t>
            </a:r>
          </a:p>
          <a:p>
            <a:pPr marL="228600" lvl="1" indent="-228600">
              <a:spcAft>
                <a:spcPts val="600"/>
              </a:spcAft>
              <a:buFont typeface="+mj-lt"/>
              <a:buAutoNum type="arabicPeriod"/>
            </a:pPr>
            <a:r>
              <a:rPr lang="lv-LV" sz="1100">
                <a:solidFill>
                  <a:srgbClr val="212529"/>
                </a:solidFill>
              </a:rPr>
              <a:t>Jāp</a:t>
            </a:r>
            <a:r>
              <a:rPr lang="lv-LV" sz="1100" b="0" i="0">
                <a:solidFill>
                  <a:srgbClr val="212529"/>
                </a:solidFill>
                <a:effectLst/>
              </a:rPr>
              <a:t>aredz pārvietojamā plītiņa ēdiena sagatavošanai.</a:t>
            </a:r>
          </a:p>
          <a:p>
            <a:pPr marL="228600" lvl="1" indent="-228600">
              <a:spcAft>
                <a:spcPts val="600"/>
              </a:spcAft>
              <a:buFont typeface="+mj-lt"/>
              <a:buAutoNum type="arabicPeriod"/>
            </a:pPr>
            <a:r>
              <a:rPr lang="lv-LV" sz="1100">
                <a:solidFill>
                  <a:srgbClr val="212529"/>
                </a:solidFill>
              </a:rPr>
              <a:t>Jān</a:t>
            </a:r>
            <a:r>
              <a:rPr lang="lv-LV" sz="1100" b="0" i="0">
                <a:solidFill>
                  <a:srgbClr val="212529"/>
                </a:solidFill>
                <a:effectLst/>
              </a:rPr>
              <a:t>odrošinās ar dzeramo ūdeni (traukos vai pudelēs) ar aprēķinu 3 litri dzeramā ūdens uz vienu cilvēku, nedaudz pārtikas un siltām drēbēm.</a:t>
            </a:r>
          </a:p>
          <a:p>
            <a:pPr marL="228600" lvl="1" indent="-228600">
              <a:spcAft>
                <a:spcPts val="600"/>
              </a:spcAft>
              <a:buFont typeface="+mj-lt"/>
              <a:buAutoNum type="arabicPeriod"/>
            </a:pPr>
            <a:r>
              <a:rPr lang="lv-LV" sz="1100">
                <a:solidFill>
                  <a:srgbClr val="212529"/>
                </a:solidFill>
              </a:rPr>
              <a:t>Jāp</a:t>
            </a:r>
            <a:r>
              <a:rPr lang="lv-LV" sz="1100" b="0" i="0">
                <a:solidFill>
                  <a:srgbClr val="212529"/>
                </a:solidFill>
                <a:effectLst/>
              </a:rPr>
              <a:t>aredz tualetes risinājums.</a:t>
            </a:r>
          </a:p>
          <a:p>
            <a:pPr marL="228600" lvl="1" indent="-228600">
              <a:spcAft>
                <a:spcPts val="600"/>
              </a:spcAft>
              <a:buFont typeface="+mj-lt"/>
              <a:buAutoNum type="arabicPeriod"/>
            </a:pPr>
            <a:r>
              <a:rPr lang="lv-LV" sz="1100" b="0" i="0">
                <a:solidFill>
                  <a:srgbClr val="212529"/>
                </a:solidFill>
                <a:effectLst/>
              </a:rPr>
              <a:t>Ja iespējams, jānodala vieta pārtikas krājumiem, cilvēku uzturēšanās vietai un sanitārajām vajadzībām.</a:t>
            </a:r>
          </a:p>
          <a:p>
            <a:pPr marL="228600" lvl="1" indent="-228600">
              <a:spcAft>
                <a:spcPts val="600"/>
              </a:spcAft>
              <a:buFont typeface="+mj-lt"/>
              <a:buAutoNum type="arabicPeriod"/>
            </a:pPr>
            <a:r>
              <a:rPr lang="lv-LV" sz="1100" b="0" i="0">
                <a:solidFill>
                  <a:srgbClr val="212529"/>
                </a:solidFill>
                <a:effectLst/>
              </a:rPr>
              <a:t>Ja ģimenē ir mazi bērni, jāsagatavo kāda galda spēle vai citi līdzekļi viņu nodarbināšanai.</a:t>
            </a:r>
          </a:p>
          <a:p>
            <a:pPr marL="228600" lvl="1" indent="-228600">
              <a:spcAft>
                <a:spcPts val="600"/>
              </a:spcAft>
              <a:buFont typeface="+mj-lt"/>
              <a:buAutoNum type="arabicPeriod"/>
            </a:pPr>
            <a:r>
              <a:rPr lang="lv-LV" sz="1100">
                <a:solidFill>
                  <a:srgbClr val="212529"/>
                </a:solidFill>
              </a:rPr>
              <a:t>Jān</a:t>
            </a:r>
            <a:r>
              <a:rPr lang="lv-LV" sz="1100" b="0" i="0">
                <a:solidFill>
                  <a:srgbClr val="212529"/>
                </a:solidFill>
                <a:effectLst/>
              </a:rPr>
              <a:t>ozīmē viena vai vairākas atbildīgās personas, kuras rūpēsies un uzturēs šo telpu pieejamību un kārtību.</a:t>
            </a:r>
          </a:p>
        </p:txBody>
      </p:sp>
      <p:pic>
        <p:nvPicPr>
          <p:cNvPr id="5122" name="Picture 2" descr="Patvertnes zīme: Zaļš kvadrāts, kuram pa vidu ir vairoga forma baltā krāsā. Vairogam vidū izvietota zaļa mājas figūra, kurā iekšā ievietoti četru cilvēku silueti baltā krāsā">
            <a:extLst>
              <a:ext uri="{FF2B5EF4-FFF2-40B4-BE49-F238E27FC236}">
                <a16:creationId xmlns:a16="http://schemas.microsoft.com/office/drawing/2014/main" id="{FF042E1A-71D6-EBB4-DAE5-6D7BEA16A49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218488" y="1818146"/>
            <a:ext cx="3530598" cy="3548251"/>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18789BED-C705-8612-8A49-866C72DFAF0D}"/>
              </a:ext>
            </a:extLst>
          </p:cNvPr>
          <p:cNvSpPr/>
          <p:nvPr/>
        </p:nvSpPr>
        <p:spPr>
          <a:xfrm>
            <a:off x="8218488" y="5415281"/>
            <a:ext cx="3530599" cy="75691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100">
                <a:solidFill>
                  <a:schemeClr val="tx1"/>
                </a:solidFill>
                <a:hlinkClick r:id="rId4">
                  <a:extLst>
                    <a:ext uri="{A12FA001-AC4F-418D-AE19-62706E023703}">
                      <ahyp:hlinkClr xmlns:ahyp="http://schemas.microsoft.com/office/drawing/2018/hyperlinkcolor" val="tx"/>
                    </a:ext>
                  </a:extLst>
                </a:hlinkClick>
              </a:rPr>
              <a:t>Rokasgrāmata "Kā rīkoties kara gadījumā"</a:t>
            </a:r>
            <a:endParaRPr lang="lv-LV" sz="1100">
              <a:solidFill>
                <a:schemeClr val="tx1"/>
              </a:solidFill>
            </a:endParaRPr>
          </a:p>
        </p:txBody>
      </p:sp>
      <p:sp>
        <p:nvSpPr>
          <p:cNvPr id="18" name="Freeform 50">
            <a:extLst>
              <a:ext uri="{FF2B5EF4-FFF2-40B4-BE49-F238E27FC236}">
                <a16:creationId xmlns:a16="http://schemas.microsoft.com/office/drawing/2014/main" id="{DB52FBEF-0B43-A38F-3876-C9BBD5E11219}"/>
              </a:ext>
            </a:extLst>
          </p:cNvPr>
          <p:cNvSpPr>
            <a:spLocks noChangeAspect="1"/>
          </p:cNvSpPr>
          <p:nvPr/>
        </p:nvSpPr>
        <p:spPr bwMode="auto">
          <a:xfrm>
            <a:off x="8349088" y="56521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lv-LV" sz="983"/>
          </a:p>
        </p:txBody>
      </p:sp>
      <p:sp>
        <p:nvSpPr>
          <p:cNvPr id="29" name="Rectangle 28">
            <a:extLst>
              <a:ext uri="{FF2B5EF4-FFF2-40B4-BE49-F238E27FC236}">
                <a16:creationId xmlns:a16="http://schemas.microsoft.com/office/drawing/2014/main" id="{6C868474-8FA5-9D0A-A7DE-4C5F33CDA8A6}"/>
              </a:ext>
            </a:extLst>
          </p:cNvPr>
          <p:cNvSpPr/>
          <p:nvPr/>
        </p:nvSpPr>
        <p:spPr>
          <a:xfrm>
            <a:off x="442914" y="1819275"/>
            <a:ext cx="6771498"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Pagraba vai citu pazemes telpu pielāgošana patvēruma vajadzībām</a:t>
            </a:r>
          </a:p>
        </p:txBody>
      </p:sp>
      <p:sp>
        <p:nvSpPr>
          <p:cNvPr id="32" name="Rectangle 31">
            <a:extLst>
              <a:ext uri="{FF2B5EF4-FFF2-40B4-BE49-F238E27FC236}">
                <a16:creationId xmlns:a16="http://schemas.microsoft.com/office/drawing/2014/main" id="{4B0A2F5A-F216-025C-CF24-8E94B11CC89A}"/>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4" name="Rectangle 33">
            <a:extLst>
              <a:ext uri="{FF2B5EF4-FFF2-40B4-BE49-F238E27FC236}">
                <a16:creationId xmlns:a16="http://schemas.microsoft.com/office/drawing/2014/main" id="{9EC21924-C562-6A20-3560-ED5B8BFE431A}"/>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9" name="Google Shape;1800;p93">
            <a:extLst>
              <a:ext uri="{FF2B5EF4-FFF2-40B4-BE49-F238E27FC236}">
                <a16:creationId xmlns:a16="http://schemas.microsoft.com/office/drawing/2014/main" id="{3AE8FC83-84F4-AD93-3DA8-176A0E32392F}"/>
              </a:ext>
            </a:extLst>
          </p:cNvPr>
          <p:cNvSpPr/>
          <p:nvPr/>
        </p:nvSpPr>
        <p:spPr>
          <a:xfrm>
            <a:off x="7393300" y="1927275"/>
            <a:ext cx="360000" cy="360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grpSp>
        <p:nvGrpSpPr>
          <p:cNvPr id="5" name="Group 4">
            <a:extLst>
              <a:ext uri="{FF2B5EF4-FFF2-40B4-BE49-F238E27FC236}">
                <a16:creationId xmlns:a16="http://schemas.microsoft.com/office/drawing/2014/main" id="{2B0776D4-709F-5126-B53F-DD2A3D7554C4}"/>
              </a:ext>
            </a:extLst>
          </p:cNvPr>
          <p:cNvGrpSpPr/>
          <p:nvPr/>
        </p:nvGrpSpPr>
        <p:grpSpPr>
          <a:xfrm>
            <a:off x="9641294" y="157007"/>
            <a:ext cx="2107794" cy="220267"/>
            <a:chOff x="9641294" y="157007"/>
            <a:chExt cx="2107794" cy="220267"/>
          </a:xfrm>
        </p:grpSpPr>
        <p:sp>
          <p:nvSpPr>
            <p:cNvPr id="6" name="Rectangle 5">
              <a:extLst>
                <a:ext uri="{FF2B5EF4-FFF2-40B4-BE49-F238E27FC236}">
                  <a16:creationId xmlns:a16="http://schemas.microsoft.com/office/drawing/2014/main" id="{58643D5D-50D6-722F-7C39-95C0EC0E39BE}"/>
                </a:ext>
              </a:extLst>
            </p:cNvPr>
            <p:cNvSpPr/>
            <p:nvPr/>
          </p:nvSpPr>
          <p:spPr>
            <a:xfrm>
              <a:off x="10366138" y="159786"/>
              <a:ext cx="138295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Individuālā</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noturība</a:t>
              </a:r>
              <a:endParaRPr kumimoji="0" lang="en-US"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102D4872-12A5-9DAF-0F99-3AE85C528EB3}"/>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50280E0C-431C-9EA8-3C60-971ECF4AF06D}"/>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D9970498-30A0-3DCD-854E-0B7E4B6E8D54}"/>
                </a:ext>
              </a:extLst>
            </p:cNvPr>
            <p:cNvSpPr/>
            <p:nvPr/>
          </p:nvSpPr>
          <p:spPr>
            <a:xfrm>
              <a:off x="10124522"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grpSp>
    </p:spTree>
    <p:extLst>
      <p:ext uri="{BB962C8B-B14F-4D97-AF65-F5344CB8AC3E}">
        <p14:creationId xmlns:p14="http://schemas.microsoft.com/office/powerpoint/2010/main" val="31581596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1/2)</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5</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Izmantoti attēli no tīmekļa vietnes "</a:t>
            </a:r>
            <a:r>
              <a:rPr lang="lv-LV" sz="900" b="0" dirty="0" err="1">
                <a:solidFill>
                  <a:schemeClr val="tx1"/>
                </a:solidFill>
                <a:ea typeface="Open Sans"/>
                <a:cs typeface="Open Sans"/>
              </a:rPr>
              <a:t>Unsplash</a:t>
            </a:r>
            <a:r>
              <a:rPr lang="lv-LV" sz="900" b="0" dirty="0">
                <a:solidFill>
                  <a:schemeClr val="tx1"/>
                </a:solidFill>
                <a:ea typeface="Open Sans"/>
                <a:cs typeface="Open Sans"/>
              </a:rPr>
              <a:t>". Pieejams: </a:t>
            </a:r>
            <a:r>
              <a:rPr lang="lv-LV" sz="900" b="0" dirty="0">
                <a:solidFill>
                  <a:srgbClr val="A8192D"/>
                </a:solidFill>
                <a:ea typeface="Open Sans"/>
                <a:cs typeface="Open Sans"/>
              </a:rPr>
              <a:t>https://unsplash.com/</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112. 2023. Biežāk uzdotie jautājumi par iedzīvotāju apziņošanu, rīcību militāra apdraudējuma gadījumā. Pieejams: </a:t>
            </a:r>
            <a:r>
              <a:rPr lang="lv-LV" sz="900" b="0" dirty="0">
                <a:solidFill>
                  <a:srgbClr val="A8192D"/>
                </a:solidFill>
                <a:ea typeface="Open Sans"/>
                <a:cs typeface="Open Sans"/>
              </a:rPr>
              <a:t>https://112.lv/lv/raksts/210</a:t>
            </a:r>
          </a:p>
          <a:p>
            <a:pPr marL="172800" indent="-172800">
              <a:spcBef>
                <a:spcPts val="300"/>
              </a:spcBef>
              <a:spcAft>
                <a:spcPts val="300"/>
              </a:spcAft>
              <a:buBlip>
                <a:blip r:embed="rId3"/>
              </a:buBlip>
            </a:pPr>
            <a:r>
              <a:rPr lang="lv-LV" sz="900" b="0" dirty="0">
                <a:solidFill>
                  <a:schemeClr val="tx1"/>
                </a:solidFill>
                <a:ea typeface="Open Sans"/>
                <a:cs typeface="Open Sans"/>
              </a:rPr>
              <a:t>112. Ceļu satiksmes negadījums. Pieejams: </a:t>
            </a:r>
            <a:r>
              <a:rPr lang="lv-LV" sz="900" b="0" dirty="0">
                <a:solidFill>
                  <a:srgbClr val="A8192D"/>
                </a:solidFill>
                <a:ea typeface="Open Sans"/>
                <a:cs typeface="Open Sans"/>
              </a:rPr>
              <a:t>https://112.lv/lv/riciba-apdraudejuma-situacija/kategorijas/23/celu-satiksmes-negadijums</a:t>
            </a:r>
          </a:p>
          <a:p>
            <a:pPr marL="172800" indent="-172800">
              <a:spcBef>
                <a:spcPts val="300"/>
              </a:spcBef>
              <a:spcAft>
                <a:spcPts val="300"/>
              </a:spcAft>
              <a:buBlip>
                <a:blip r:embed="rId3"/>
              </a:buBlip>
            </a:pPr>
            <a:r>
              <a:rPr lang="lv-LV" sz="900" b="0" dirty="0">
                <a:solidFill>
                  <a:schemeClr val="tx1"/>
                </a:solidFill>
                <a:ea typeface="Open Sans"/>
                <a:cs typeface="Open Sans"/>
              </a:rPr>
              <a:t>112. Elektrotīklu bojājumi. Pieejams: </a:t>
            </a:r>
            <a:r>
              <a:rPr lang="lv-LV" sz="900" b="0" dirty="0">
                <a:solidFill>
                  <a:srgbClr val="A8192D"/>
                </a:solidFill>
                <a:ea typeface="Open Sans"/>
                <a:cs typeface="Open Sans"/>
              </a:rPr>
              <a:t>https://112.lv/lv/raksts/67/elektrotiklu-bojajumi?objects_path=lv%2Fraksts%2F67%2Felektrotiklu-bojajumi</a:t>
            </a:r>
          </a:p>
          <a:p>
            <a:pPr marL="172800" indent="-172800">
              <a:spcBef>
                <a:spcPts val="300"/>
              </a:spcBef>
              <a:spcAft>
                <a:spcPts val="300"/>
              </a:spcAft>
              <a:buBlip>
                <a:blip r:embed="rId3"/>
              </a:buBlip>
            </a:pPr>
            <a:r>
              <a:rPr lang="lv-LV" sz="900" b="0" dirty="0">
                <a:solidFill>
                  <a:schemeClr val="tx1"/>
                </a:solidFill>
                <a:ea typeface="Open Sans"/>
                <a:cs typeface="Open Sans"/>
              </a:rPr>
              <a:t>112. Evakuācija. Pieejams: </a:t>
            </a:r>
            <a:r>
              <a:rPr lang="lv-LV" sz="900" b="0" dirty="0">
                <a:solidFill>
                  <a:srgbClr val="A8192D"/>
                </a:solidFill>
                <a:ea typeface="Open Sans"/>
                <a:cs typeface="Open Sans"/>
              </a:rPr>
              <a:t>https://112.lv/lv/raksts/192/evakuacija</a:t>
            </a:r>
          </a:p>
          <a:p>
            <a:pPr marL="172800" indent="-172800">
              <a:spcBef>
                <a:spcPts val="300"/>
              </a:spcBef>
              <a:spcAft>
                <a:spcPts val="300"/>
              </a:spcAft>
              <a:buBlip>
                <a:blip r:embed="rId3"/>
              </a:buBlip>
            </a:pPr>
            <a:r>
              <a:rPr lang="lv-LV" sz="900" b="0" dirty="0">
                <a:solidFill>
                  <a:schemeClr val="tx1"/>
                </a:solidFill>
                <a:ea typeface="Open Sans"/>
                <a:cs typeface="Open Sans"/>
              </a:rPr>
              <a:t>112. Evakuācija un ārkārtas gadījumu soma. Pieejams: </a:t>
            </a:r>
            <a:r>
              <a:rPr lang="lv-LV" sz="900" b="0" dirty="0">
                <a:solidFill>
                  <a:srgbClr val="A8192D"/>
                </a:solidFill>
                <a:ea typeface="Open Sans"/>
                <a:cs typeface="Open Sans"/>
              </a:rPr>
              <a:t>https://112.lv/lv/raksts/225/evakuacija-un-arkartas-gadijumu-soma?objects_path=lv%2Fraksts%2F225%2Fevakuacija-un-arkartas-gadijumu-soma</a:t>
            </a:r>
          </a:p>
          <a:p>
            <a:pPr marL="172800" indent="-172800">
              <a:spcBef>
                <a:spcPts val="300"/>
              </a:spcBef>
              <a:spcAft>
                <a:spcPts val="300"/>
              </a:spcAft>
              <a:buBlip>
                <a:blip r:embed="rId3"/>
              </a:buBlip>
            </a:pPr>
            <a:r>
              <a:rPr lang="lv-LV" sz="900" b="0" dirty="0">
                <a:solidFill>
                  <a:schemeClr val="tx1"/>
                </a:solidFill>
                <a:ea typeface="Open Sans"/>
                <a:cs typeface="Open Sans"/>
              </a:rPr>
              <a:t>Aizsardzības ministrija. 2024. Rokasgrāmata “Kā rīkoties kara gadījumā”. Pieejams: </a:t>
            </a:r>
            <a:r>
              <a:rPr lang="lv-LV" sz="900" b="0" dirty="0">
                <a:solidFill>
                  <a:srgbClr val="A8192D"/>
                </a:solidFill>
                <a:ea typeface="Open Sans"/>
                <a:cs typeface="Open Sans"/>
              </a:rPr>
              <a:t>https://static.lsm.lv/documents/1ym.pdf</a:t>
            </a:r>
          </a:p>
          <a:p>
            <a:pPr marL="172800" indent="-172800">
              <a:spcBef>
                <a:spcPts val="300"/>
              </a:spcBef>
              <a:spcAft>
                <a:spcPts val="300"/>
              </a:spcAft>
              <a:buBlip>
                <a:blip r:embed="rId3"/>
              </a:buBlip>
            </a:pPr>
            <a:r>
              <a:rPr lang="lv-LV" sz="900" b="0" dirty="0">
                <a:solidFill>
                  <a:schemeClr val="tx1"/>
                </a:solidFill>
                <a:ea typeface="Open Sans"/>
                <a:cs typeface="Open Sans"/>
              </a:rPr>
              <a:t>Civilās aizsardzības un katastrofas pārvaldīšanas likums. Pieeja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a:solidFill>
                  <a:schemeClr val="tx1"/>
                </a:solidFill>
                <a:ea typeface="Open Sans"/>
                <a:cs typeface="Open Sans"/>
              </a:rPr>
              <a:t>Jēkabpils </a:t>
            </a:r>
            <a:r>
              <a:rPr lang="lv-LV" sz="900" b="0" dirty="0" err="1">
                <a:solidFill>
                  <a:schemeClr val="tx1"/>
                </a:solidFill>
                <a:ea typeface="Open Sans"/>
                <a:cs typeface="Open Sans"/>
              </a:rPr>
              <a:t>County</a:t>
            </a:r>
            <a:r>
              <a:rPr lang="lv-LV" sz="900" b="0" dirty="0">
                <a:solidFill>
                  <a:schemeClr val="tx1"/>
                </a:solidFill>
                <a:ea typeface="Open Sans"/>
                <a:cs typeface="Open Sans"/>
              </a:rPr>
              <a:t> </a:t>
            </a:r>
            <a:r>
              <a:rPr lang="lv-LV" sz="900" b="0" dirty="0" err="1">
                <a:solidFill>
                  <a:schemeClr val="tx1"/>
                </a:solidFill>
                <a:ea typeface="Open Sans"/>
                <a:cs typeface="Open Sans"/>
              </a:rPr>
              <a:t>Municipality</a:t>
            </a:r>
            <a:r>
              <a:rPr lang="lv-LV" sz="900" b="0" dirty="0">
                <a:solidFill>
                  <a:schemeClr val="tx1"/>
                </a:solidFill>
                <a:ea typeface="Open Sans"/>
                <a:cs typeface="Open Sans"/>
              </a:rPr>
              <a:t>. Dokumentālā filma "Plūdi" (Jēkabpils, 2023. gads). Pieejams: </a:t>
            </a:r>
            <a:r>
              <a:rPr lang="lv-LV" sz="900" b="0" dirty="0">
                <a:solidFill>
                  <a:srgbClr val="A8192D"/>
                </a:solidFill>
                <a:ea typeface="Open Sans"/>
                <a:cs typeface="Open Sans"/>
              </a:rPr>
              <a:t>https://www.youtube.com/watch?v=ZJBtqAgrEZE</a:t>
            </a:r>
          </a:p>
          <a:p>
            <a:pPr marL="172800" indent="-172800">
              <a:spcBef>
                <a:spcPts val="300"/>
              </a:spcBef>
              <a:spcAft>
                <a:spcPts val="300"/>
              </a:spcAft>
              <a:buBlip>
                <a:blip r:embed="rId3"/>
              </a:buBlip>
            </a:pPr>
            <a:r>
              <a:rPr lang="lv-LV" sz="900" b="0" dirty="0">
                <a:solidFill>
                  <a:schemeClr val="tx1"/>
                </a:solidFill>
                <a:ea typeface="Open Sans"/>
                <a:cs typeface="Open Sans"/>
              </a:rPr>
              <a:t>LTV Ziņu dienests. 72. stundas. Evakuācija un pretošanās. Pieejams: </a:t>
            </a:r>
            <a:r>
              <a:rPr lang="lv-LV" sz="900" b="0" dirty="0">
                <a:solidFill>
                  <a:srgbClr val="A8192D"/>
                </a:solidFill>
                <a:ea typeface="Open Sans"/>
                <a:cs typeface="Open Sans"/>
              </a:rPr>
              <a:t>https://www.youtube.com/watch?v=EqTN-akzLIc</a:t>
            </a:r>
          </a:p>
          <a:p>
            <a:pPr marL="172800" indent="-172800">
              <a:spcBef>
                <a:spcPts val="300"/>
              </a:spcBef>
              <a:spcAft>
                <a:spcPts val="300"/>
              </a:spcAft>
              <a:buBlip>
                <a:blip r:embed="rId3"/>
              </a:buBlip>
            </a:pPr>
            <a:r>
              <a:rPr lang="lv-LV" sz="900" b="0" dirty="0">
                <a:solidFill>
                  <a:schemeClr val="tx1"/>
                </a:solidFill>
                <a:ea typeface="Open Sans"/>
                <a:cs typeface="Open Sans"/>
              </a:rPr>
              <a:t>LTV Ziņu dienests. Ogrē spridzina ledu. Pieejams: </a:t>
            </a:r>
            <a:r>
              <a:rPr lang="lv-LV" sz="900" b="0" dirty="0">
                <a:solidFill>
                  <a:srgbClr val="A8192D"/>
                </a:solidFill>
                <a:ea typeface="Open Sans"/>
                <a:cs typeface="Open Sans"/>
              </a:rPr>
              <a:t>https://www.youtube.com/watch?v=7fol0QqgihA</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2. gada 20. augusta noteikumi Nr. 372 "Darba aizsardzības prasības, lietojot individuālos aizsardzības līdzekļus". Pieejams: </a:t>
            </a:r>
            <a:r>
              <a:rPr lang="lv-LV" sz="900" b="0" dirty="0">
                <a:solidFill>
                  <a:srgbClr val="A8192D"/>
                </a:solidFill>
                <a:ea typeface="Open Sans"/>
                <a:cs typeface="Open Sans"/>
              </a:rPr>
              <a:t>https://likumi.lv/ta/id/6561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2. gada 21. maija noteikumi Nr. 189 "Darba aizsardzības prasības, saskaroties ar bioloģiskajām vielām". Pieejams: </a:t>
            </a:r>
            <a:r>
              <a:rPr lang="lv-LV" sz="900" b="0" dirty="0">
                <a:solidFill>
                  <a:srgbClr val="A8192D"/>
                </a:solidFill>
                <a:ea typeface="Open Sans"/>
                <a:cs typeface="Open Sans"/>
              </a:rPr>
              <a:t>https://likumi.lv/ta/id/62417</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3. gada 26. jūnija rīkojums Nr. 414 "Par Radioaktīvo atkritumu glabāšanas koncepciju". Pieejams: </a:t>
            </a:r>
            <a:r>
              <a:rPr lang="lv-LV" sz="900" b="0" dirty="0">
                <a:solidFill>
                  <a:srgbClr val="A8192D"/>
                </a:solidFill>
                <a:ea typeface="Open Sans"/>
                <a:cs typeface="Open Sans"/>
              </a:rPr>
              <a:t>https://likumi.lv/ta/id/7676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3. gada 8. aprīļa noteikumi Nr. 152 "Prasības attiecībā uz sagatavotību radiācijas avārijai un rīcību šādas avārijas gadījumā". Pieejams: </a:t>
            </a:r>
            <a:r>
              <a:rPr lang="lv-LV" sz="900" b="0" dirty="0">
                <a:solidFill>
                  <a:srgbClr val="A8192D"/>
                </a:solidFill>
                <a:ea typeface="Open Sans"/>
                <a:cs typeface="Open Sans"/>
              </a:rPr>
              <a:t>https://likumi.lv/ta/id/73845</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4. gada 30. novembra rīkojums Nr. 958 "Par Salaspils kodolreaktora likvidēšanas un demontāžas koncepciju". Pieejams: </a:t>
            </a:r>
            <a:r>
              <a:rPr lang="lv-LV" sz="900" b="0" dirty="0">
                <a:solidFill>
                  <a:srgbClr val="A8192D"/>
                </a:solidFill>
                <a:ea typeface="Open Sans"/>
                <a:cs typeface="Open Sans"/>
              </a:rPr>
              <a:t>https://likumi.lv/ta/id/9744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3. gada 8. oktobra noteikumi Nr. 1041 "Noteikumi par obligāti piemērojamo </a:t>
            </a:r>
            <a:r>
              <a:rPr lang="lv-LV" sz="900" b="0" dirty="0" err="1">
                <a:solidFill>
                  <a:schemeClr val="tx1"/>
                </a:solidFill>
                <a:ea typeface="Open Sans"/>
                <a:cs typeface="Open Sans"/>
              </a:rPr>
              <a:t>energostandartu</a:t>
            </a:r>
            <a:r>
              <a:rPr lang="lv-LV" sz="900" b="0" dirty="0">
                <a:solidFill>
                  <a:schemeClr val="tx1"/>
                </a:solidFill>
                <a:ea typeface="Open Sans"/>
                <a:cs typeface="Open Sans"/>
              </a:rPr>
              <a:t>, kas nosaka elektroapgādes objektu ekspluatācijas organizatoriskās un tehniskās drošības prasības". Pieejams: </a:t>
            </a:r>
            <a:r>
              <a:rPr lang="lv-LV" sz="900" b="0" dirty="0">
                <a:solidFill>
                  <a:srgbClr val="A8192D"/>
                </a:solidFill>
                <a:ea typeface="Open Sans"/>
                <a:cs typeface="Open Sans"/>
              </a:rPr>
              <a:t>https://likumi.lv/ta/id/26076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4. gada 18. marta noteikumi Nr. 143 "Darba aizsardzības prasības, strādājot augstumā". Pieejams: </a:t>
            </a:r>
            <a:r>
              <a:rPr lang="lv-LV" sz="900" b="0" dirty="0">
                <a:solidFill>
                  <a:srgbClr val="A8192D"/>
                </a:solidFill>
                <a:ea typeface="Open Sans"/>
                <a:cs typeface="Open Sans"/>
              </a:rPr>
              <a:t>https://likumi.lv/ta/id/26512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5. gada 22. decembra noteikumi Nr. 746 "Noteikumi par kuģu, kuģošanas kompāniju, ostu un ostas iekārtu aizsardzības funkciju sadalījumu, izpildi un uzraudzību". Pieejams: </a:t>
            </a:r>
            <a:r>
              <a:rPr lang="lv-LV" sz="900" b="0" dirty="0">
                <a:solidFill>
                  <a:srgbClr val="A8192D"/>
                </a:solidFill>
                <a:ea typeface="Open Sans"/>
                <a:cs typeface="Open Sans"/>
              </a:rPr>
              <a:t>https://likumi.lv/ta/id/278913</a:t>
            </a:r>
          </a:p>
        </p:txBody>
      </p:sp>
    </p:spTree>
    <p:extLst>
      <p:ext uri="{BB962C8B-B14F-4D97-AF65-F5344CB8AC3E}">
        <p14:creationId xmlns:p14="http://schemas.microsoft.com/office/powerpoint/2010/main" val="33793166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2/2)</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6</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Ministru kabineta 2016. gada 1. marta noteikumi Nr. 131 "Rūpniecisko avāriju riska novērtēšanas kārtība un riska samazināšanas pasākumi". Pieejams: </a:t>
            </a:r>
            <a:r>
              <a:rPr lang="lv-LV" sz="900" b="0" dirty="0">
                <a:solidFill>
                  <a:srgbClr val="A8192D"/>
                </a:solidFill>
                <a:ea typeface="Open Sans"/>
                <a:cs typeface="Open Sans"/>
              </a:rPr>
              <a:t>https://likumi.lv/ta/id/280652</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6. gada 19. aprīļa noteikumi Nr. 238 "Ugunsdrošības noteikumi". Pieejams: </a:t>
            </a:r>
            <a:r>
              <a:rPr lang="lv-LV" sz="900" b="0" dirty="0">
                <a:solidFill>
                  <a:srgbClr val="A8192D"/>
                </a:solidFill>
                <a:ea typeface="Open Sans"/>
                <a:cs typeface="Open Sans"/>
              </a:rPr>
              <a:t>https://likumi.lv/ta/id/281646</a:t>
            </a:r>
            <a:endParaRPr lang="lv-LV" sz="900" b="0" dirty="0">
              <a:solidFill>
                <a:srgbClr val="000000"/>
              </a:solidFill>
              <a:ea typeface="Open Sans"/>
              <a:cs typeface="Open Sans"/>
            </a:endParaRPr>
          </a:p>
          <a:p>
            <a:pPr marL="172800" indent="-172800">
              <a:spcBef>
                <a:spcPts val="300"/>
              </a:spcBef>
              <a:spcAft>
                <a:spcPts val="300"/>
              </a:spcAft>
              <a:buBlip>
                <a:blip r:embed="rId3"/>
              </a:buBlip>
            </a:pPr>
            <a:r>
              <a:rPr lang="lv-LV" sz="900" b="0" dirty="0">
                <a:solidFill>
                  <a:srgbClr val="000000"/>
                </a:solidFill>
                <a:ea typeface="Open Sans"/>
                <a:cs typeface="Open Sans"/>
              </a:rPr>
              <a:t>Ministru kabineta 2017. gada 7. novembra noteikumi Nr. 658 "Noteikumi par civilās aizsardzības plānu struktūru un tajos iekļaujamo informāciju". Pieejams: </a:t>
            </a:r>
            <a:r>
              <a:rPr lang="lv-LV" sz="900" b="0" dirty="0">
                <a:solidFill>
                  <a:srgbClr val="A8192D"/>
                </a:solidFill>
                <a:ea typeface="Open Sans"/>
                <a:cs typeface="Open Sans"/>
              </a:rPr>
              <a:t>https://likumi.lv/ta/id/294938</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9. gada 18. jūnija noteikumi Nr. 268 "Valsts materiālo rezervju izmantošanas un pārbaudes kārtība". Pieejams: </a:t>
            </a:r>
            <a:r>
              <a:rPr lang="lv-LV" sz="900" b="0" dirty="0">
                <a:solidFill>
                  <a:srgbClr val="A8192D"/>
                </a:solidFill>
                <a:ea typeface="Open Sans"/>
                <a:cs typeface="Open Sans"/>
              </a:rPr>
              <a:t>https://likumi.lv/ta/id/30778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Pieejams: </a:t>
            </a:r>
            <a:r>
              <a:rPr lang="lv-LV" sz="900" b="0" dirty="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1. gada 1. aprīļa noteikumi Nr. 199 "Valsts uzraudzībā esošās dzīvnieku infekcijas slimības vai epizootijas uzliesmojuma laikā radušos zaudējumu kompensācijas noteikumi". Pieejams: </a:t>
            </a:r>
            <a:r>
              <a:rPr lang="lv-LV" sz="900" b="0" dirty="0">
                <a:solidFill>
                  <a:srgbClr val="A8192D"/>
                </a:solidFill>
                <a:ea typeface="Open Sans"/>
                <a:cs typeface="Open Sans"/>
              </a:rPr>
              <a:t>https://likumi.lv/ta/id/32216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2. gada 12. aprīļa noteikumi Nr. 230 "Valsts augu aizsardzības dienesta nolikums". Pieejams: </a:t>
            </a:r>
            <a:r>
              <a:rPr lang="lv-LV" sz="900" b="0" dirty="0">
                <a:solidFill>
                  <a:srgbClr val="A8192D"/>
                </a:solidFill>
                <a:ea typeface="Open Sans"/>
                <a:cs typeface="Open Sans"/>
              </a:rPr>
              <a:t>https://likumi.lv/ta/id/331660</a:t>
            </a:r>
          </a:p>
          <a:p>
            <a:pPr marL="172800" indent="-172800">
              <a:spcBef>
                <a:spcPts val="300"/>
              </a:spcBef>
              <a:spcAft>
                <a:spcPts val="300"/>
              </a:spcAft>
              <a:buBlip>
                <a:blip r:embed="rId3"/>
              </a:buBlip>
            </a:pPr>
            <a:r>
              <a:rPr lang="lv-LV" sz="900" b="0" dirty="0">
                <a:solidFill>
                  <a:schemeClr val="tx1"/>
                </a:solidFill>
                <a:ea typeface="Open Sans"/>
                <a:cs typeface="Open Sans"/>
              </a:rPr>
              <a:t>Neatliekamās medicīniskās palīdzības dienests. 2023. Rīcība ceļu satiksmes negadījumos. Pieejams: </a:t>
            </a:r>
            <a:r>
              <a:rPr lang="lv-LV" sz="900" b="0" dirty="0">
                <a:solidFill>
                  <a:srgbClr val="A8192D"/>
                </a:solidFill>
                <a:ea typeface="Open Sans"/>
                <a:cs typeface="Open Sans"/>
              </a:rPr>
              <a:t>https://www.nmpd.gov.lv/lv/riciba-celu-satiksmes-negadijumos</a:t>
            </a:r>
          </a:p>
          <a:p>
            <a:pPr marL="172800" indent="-172800">
              <a:spcBef>
                <a:spcPts val="300"/>
              </a:spcBef>
              <a:spcAft>
                <a:spcPts val="300"/>
              </a:spcAft>
              <a:buBlip>
                <a:blip r:embed="rId3"/>
              </a:buBlip>
            </a:pPr>
            <a:r>
              <a:rPr lang="lv-LV" sz="900" b="0" dirty="0">
                <a:solidFill>
                  <a:schemeClr val="tx1"/>
                </a:solidFill>
                <a:ea typeface="Open Sans"/>
                <a:cs typeface="Open Sans"/>
              </a:rPr>
              <a:t>Neatliekamās medicīniskās palīdzības dienests. 2024. Ārkārtas situācijas. Pieejams: </a:t>
            </a:r>
            <a:r>
              <a:rPr lang="lv-LV" sz="900" b="0" dirty="0">
                <a:solidFill>
                  <a:srgbClr val="A8192D"/>
                </a:solidFill>
                <a:ea typeface="Open Sans"/>
                <a:cs typeface="Open Sans"/>
              </a:rPr>
              <a:t>https://www.nmpd.gov.lv/lv/arkartas-situacijas</a:t>
            </a:r>
          </a:p>
          <a:p>
            <a:pPr marL="172800" indent="-172800">
              <a:spcBef>
                <a:spcPts val="300"/>
              </a:spcBef>
              <a:spcAft>
                <a:spcPts val="300"/>
              </a:spcAft>
              <a:buBlip>
                <a:blip r:embed="rId3"/>
              </a:buBlip>
            </a:pPr>
            <a:r>
              <a:rPr lang="lv-LV" sz="900" b="0" dirty="0">
                <a:solidFill>
                  <a:schemeClr val="tx1"/>
                </a:solidFill>
                <a:ea typeface="Open Sans"/>
                <a:cs typeface="Open Sans"/>
              </a:rPr>
              <a:t>Rīgas dome. 2024. Patvertnes vai vietas, kur patverties. Pieejams: </a:t>
            </a:r>
            <a:r>
              <a:rPr lang="lv-LV" sz="900" b="0" dirty="0">
                <a:solidFill>
                  <a:srgbClr val="A8192D"/>
                </a:solidFill>
                <a:ea typeface="Open Sans"/>
                <a:cs typeface="Open Sans"/>
              </a:rPr>
              <a:t>https://www.riga.lv/lv/situacija-patvertnu-jautajuma</a:t>
            </a:r>
          </a:p>
          <a:p>
            <a:pPr marL="172800" indent="-172800">
              <a:spcBef>
                <a:spcPts val="300"/>
              </a:spcBef>
              <a:spcAft>
                <a:spcPts val="300"/>
              </a:spcAft>
              <a:buBlip>
                <a:blip r:embed="rId3"/>
              </a:buBlip>
            </a:pPr>
            <a:r>
              <a:rPr lang="lv-LV" sz="900" b="0" dirty="0">
                <a:solidFill>
                  <a:schemeClr val="tx1"/>
                </a:solidFill>
                <a:ea typeface="Open Sans"/>
                <a:cs typeface="Open Sans"/>
              </a:rPr>
              <a:t>Sargs.lv. 2022. Nacionālie bruņotie spēki ir gatavībā sniegt atbalstu plūdu seku likvidēšanā. Pieejams: </a:t>
            </a:r>
            <a:r>
              <a:rPr lang="lv-LV" sz="900" b="0" dirty="0">
                <a:solidFill>
                  <a:srgbClr val="A8192D"/>
                </a:solidFill>
                <a:ea typeface="Open Sans"/>
                <a:cs typeface="Open Sans"/>
              </a:rPr>
              <a:t>https://www.sargs.lv/lv/nbs/2022-01-06/nacionalie-brunotie-speki-ir-gataviba-sniegt-atbalstu-pludu-seku-likvidesana</a:t>
            </a: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2021. Plūdi. Pieejams: </a:t>
            </a:r>
            <a:r>
              <a:rPr lang="lv-LV" sz="900" b="0" dirty="0">
                <a:solidFill>
                  <a:srgbClr val="A8192D"/>
                </a:solidFill>
                <a:ea typeface="Open Sans"/>
                <a:cs typeface="Open Sans"/>
              </a:rPr>
              <a:t>https://www.vugd.gov.lv/lv/pludi</a:t>
            </a: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2021. Stiprs vējš, negaiss. Pieejams: </a:t>
            </a:r>
            <a:r>
              <a:rPr lang="lv-LV" sz="900" b="0" dirty="0">
                <a:solidFill>
                  <a:srgbClr val="A8192D"/>
                </a:solidFill>
                <a:ea typeface="Open Sans"/>
                <a:cs typeface="Open Sans"/>
              </a:rPr>
              <a:t>https://www.vugd.gov.lv/lv/stiprs-vejs-negaiss</a:t>
            </a: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2024. Vadlīnijas potenciālo patvertņu minimālajām tehniskajām prasībām. Pieejams: </a:t>
            </a:r>
            <a:r>
              <a:rPr lang="lv-LV" sz="900" b="0" dirty="0">
                <a:solidFill>
                  <a:srgbClr val="A8192D"/>
                </a:solidFill>
                <a:ea typeface="Open Sans"/>
                <a:cs typeface="Open Sans"/>
              </a:rPr>
              <a:t>https://www.vugd.gov.lv/lv/vadlinijas-potencialo-patvertnu-minimalajam-tehniskajam-prasibam</a:t>
            </a: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Katastrofu riska novērtēšanas rekomendācijas. Pieejams: </a:t>
            </a:r>
            <a:r>
              <a:rPr lang="lv-LV" sz="900" b="0" dirty="0">
                <a:solidFill>
                  <a:srgbClr val="A8192D"/>
                </a:solidFill>
                <a:ea typeface="Open Sans"/>
                <a:cs typeface="Open Sans"/>
              </a:rPr>
              <a:t>https://www.vugd.gov.lv/lv/media/340/download</a:t>
            </a:r>
          </a:p>
          <a:p>
            <a:pPr marL="172800" indent="-172800">
              <a:spcBef>
                <a:spcPts val="300"/>
              </a:spcBef>
              <a:spcAft>
                <a:spcPts val="300"/>
              </a:spcAft>
              <a:buBlip>
                <a:blip r:embed="rId3"/>
              </a:buBlip>
            </a:pPr>
            <a:r>
              <a:rPr lang="lv-LV" sz="900" b="0" dirty="0">
                <a:solidFill>
                  <a:schemeClr val="tx1"/>
                </a:solidFill>
                <a:ea typeface="Open Sans"/>
                <a:cs typeface="Open Sans"/>
              </a:rPr>
              <a:t>VUGD. Kā rīkoties plūdu gadījumā? Pieejams: </a:t>
            </a:r>
            <a:r>
              <a:rPr lang="lv-LV" sz="900" b="0" dirty="0">
                <a:solidFill>
                  <a:srgbClr val="A8192D"/>
                </a:solidFill>
                <a:ea typeface="Open Sans"/>
                <a:cs typeface="Open Sans"/>
              </a:rPr>
              <a:t>https://www.youtube.com/watch?v=TqCewTZAWdU&amp;t=57s</a:t>
            </a:r>
          </a:p>
        </p:txBody>
      </p:sp>
    </p:spTree>
    <p:extLst>
      <p:ext uri="{BB962C8B-B14F-4D97-AF65-F5344CB8AC3E}">
        <p14:creationId xmlns:p14="http://schemas.microsoft.com/office/powerpoint/2010/main" val="1080075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A428F7A-C993-50D3-89F1-C22D21146271}"/>
              </a:ext>
            </a:extLst>
          </p:cNvPr>
          <p:cNvPicPr>
            <a:picLocks noChangeAspect="1"/>
          </p:cNvPicPr>
          <p:nvPr/>
        </p:nvPicPr>
        <p:blipFill rotWithShape="1">
          <a:blip r:embed="rId2"/>
          <a:srcRect l="1995" t="31331" r="7270" b="10121"/>
          <a:stretch/>
        </p:blipFill>
        <p:spPr>
          <a:xfrm>
            <a:off x="442913" y="3460253"/>
            <a:ext cx="5462587" cy="2643587"/>
          </a:xfrm>
          <a:prstGeom prst="rect">
            <a:avLst/>
          </a:prstGeom>
        </p:spPr>
      </p:pic>
      <p:pic>
        <p:nvPicPr>
          <p:cNvPr id="23" name="Picture 22">
            <a:extLst>
              <a:ext uri="{FF2B5EF4-FFF2-40B4-BE49-F238E27FC236}">
                <a16:creationId xmlns:a16="http://schemas.microsoft.com/office/drawing/2014/main" id="{2AAB2BE4-42F0-3706-C7BD-11E5246759F6}"/>
              </a:ext>
            </a:extLst>
          </p:cNvPr>
          <p:cNvPicPr>
            <a:picLocks noChangeAspect="1"/>
          </p:cNvPicPr>
          <p:nvPr/>
        </p:nvPicPr>
        <p:blipFill rotWithShape="1">
          <a:blip r:embed="rId3"/>
          <a:srcRect l="512" t="51947" r="1022" b="11378"/>
          <a:stretch/>
        </p:blipFill>
        <p:spPr>
          <a:xfrm>
            <a:off x="6286501" y="3460253"/>
            <a:ext cx="5462582" cy="2712742"/>
          </a:xfrm>
          <a:prstGeom prst="rect">
            <a:avLst/>
          </a:prstGeom>
        </p:spPr>
      </p:pic>
      <p:sp>
        <p:nvSpPr>
          <p:cNvPr id="11" name="Rectangle 10">
            <a:extLst>
              <a:ext uri="{FF2B5EF4-FFF2-40B4-BE49-F238E27FC236}">
                <a16:creationId xmlns:a16="http://schemas.microsoft.com/office/drawing/2014/main" id="{FA0DB7E4-5086-CBC3-A430-AECBB931AE3F}"/>
              </a:ext>
            </a:extLst>
          </p:cNvPr>
          <p:cNvSpPr/>
          <p:nvPr/>
        </p:nvSpPr>
        <p:spPr>
          <a:xfrm>
            <a:off x="442912" y="1821861"/>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12" name="Satura vietturis 2">
            <a:extLst>
              <a:ext uri="{FF2B5EF4-FFF2-40B4-BE49-F238E27FC236}">
                <a16:creationId xmlns:a16="http://schemas.microsoft.com/office/drawing/2014/main" id="{2B9CA849-0AC4-22D0-C79E-0B127C7E1E88}"/>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Vai Jūs varat nosaukt, </a:t>
            </a:r>
            <a:r>
              <a:rPr lang="lv-LV" altLang="lv-LV" sz="1600">
                <a:solidFill>
                  <a:srgbClr val="FF0000"/>
                </a:solidFill>
              </a:rPr>
              <a:t>kādi soļi jāveic</a:t>
            </a:r>
            <a:r>
              <a:rPr lang="lv-LV" altLang="lv-LV" sz="1600">
                <a:solidFill>
                  <a:schemeClr val="tx1"/>
                </a:solidFill>
              </a:rPr>
              <a:t>, saņemot brīdinājumu par ārkārtas situācijas draudiem (piemēram, plūdiem, negaisu)?  </a:t>
            </a:r>
          </a:p>
        </p:txBody>
      </p:sp>
      <p:sp>
        <p:nvSpPr>
          <p:cNvPr id="13" name="Satura vietturis 2">
            <a:extLst>
              <a:ext uri="{FF2B5EF4-FFF2-40B4-BE49-F238E27FC236}">
                <a16:creationId xmlns:a16="http://schemas.microsoft.com/office/drawing/2014/main" id="{8FBA6CD9-C29A-DC34-2046-4B566CDE468F}"/>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Vai Jūs zināt, kā sagatavot savu dzīvesvietu  ārkārtas situācijām?</a:t>
            </a:r>
          </a:p>
        </p:txBody>
      </p:sp>
      <p:sp>
        <p:nvSpPr>
          <p:cNvPr id="14" name="Rectangle 13">
            <a:extLst>
              <a:ext uri="{FF2B5EF4-FFF2-40B4-BE49-F238E27FC236}">
                <a16:creationId xmlns:a16="http://schemas.microsoft.com/office/drawing/2014/main" id="{A15C462A-F4AD-2E9B-95A5-B333002BB906}"/>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18" name="Rectangle 17">
            <a:extLst>
              <a:ext uri="{FF2B5EF4-FFF2-40B4-BE49-F238E27FC236}">
                <a16:creationId xmlns:a16="http://schemas.microsoft.com/office/drawing/2014/main" id="{CE824709-874E-91CF-BC39-F76E24167153}"/>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Rectangle 18">
            <a:extLst>
              <a:ext uri="{FF2B5EF4-FFF2-40B4-BE49-F238E27FC236}">
                <a16:creationId xmlns:a16="http://schemas.microsoft.com/office/drawing/2014/main" id="{6F2E811E-0203-E42B-4247-E0F4A89A3CDA}"/>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Title 18">
            <a:extLst>
              <a:ext uri="{FF2B5EF4-FFF2-40B4-BE49-F238E27FC236}">
                <a16:creationId xmlns:a16="http://schemas.microsoft.com/office/drawing/2014/main" id="{62191B8F-6AA7-8996-6DFE-41B6714A0793}"/>
              </a:ext>
            </a:extLst>
          </p:cNvPr>
          <p:cNvSpPr>
            <a:spLocks noGrp="1"/>
          </p:cNvSpPr>
          <p:nvPr>
            <p:ph type="title"/>
          </p:nvPr>
        </p:nvSpPr>
        <p:spPr>
          <a:xfrm>
            <a:off x="442913" y="432001"/>
            <a:ext cx="11306175" cy="1387274"/>
          </a:xfrm>
        </p:spPr>
        <p:txBody>
          <a:bodyPr vert="horz"/>
          <a:lstStyle/>
          <a:p>
            <a:r>
              <a:rPr lang="lv-LV" noProof="0" err="1"/>
              <a:t>Ievaddiskusija</a:t>
            </a:r>
            <a:r>
              <a:rPr lang="lv-LV" noProof="0"/>
              <a:t> ar izglītojamajiem par gatavību ārkārtas situācijām</a:t>
            </a:r>
          </a:p>
        </p:txBody>
      </p:sp>
      <p:sp>
        <p:nvSpPr>
          <p:cNvPr id="24" name="Google Shape;1024;p85">
            <a:extLst>
              <a:ext uri="{FF2B5EF4-FFF2-40B4-BE49-F238E27FC236}">
                <a16:creationId xmlns:a16="http://schemas.microsoft.com/office/drawing/2014/main" id="{C11F337B-D5AC-5AA8-540B-65C2AE0A4054}"/>
              </a:ext>
            </a:extLst>
          </p:cNvPr>
          <p:cNvSpPr/>
          <p:nvPr/>
        </p:nvSpPr>
        <p:spPr>
          <a:xfrm>
            <a:off x="556312" y="2387763"/>
            <a:ext cx="360000" cy="360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00;p85">
            <a:extLst>
              <a:ext uri="{FF2B5EF4-FFF2-40B4-BE49-F238E27FC236}">
                <a16:creationId xmlns:a16="http://schemas.microsoft.com/office/drawing/2014/main" id="{424776CB-9FB7-A616-CF95-BF0AD4261CB5}"/>
              </a:ext>
            </a:extLst>
          </p:cNvPr>
          <p:cNvSpPr/>
          <p:nvPr/>
        </p:nvSpPr>
        <p:spPr>
          <a:xfrm>
            <a:off x="6399901" y="2387763"/>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 name="Slide Number Placeholder 4">
            <a:extLst>
              <a:ext uri="{FF2B5EF4-FFF2-40B4-BE49-F238E27FC236}">
                <a16:creationId xmlns:a16="http://schemas.microsoft.com/office/drawing/2014/main" id="{8410E940-F17B-5726-12B9-4DF4D6D8C2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a:t>
            </a:fld>
            <a:endParaRPr lang="en-GB"/>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Connector: Elbow 7">
            <a:extLst>
              <a:ext uri="{FF2B5EF4-FFF2-40B4-BE49-F238E27FC236}">
                <a16:creationId xmlns:a16="http://schemas.microsoft.com/office/drawing/2014/main" id="{2A5B4B87-A354-6B3E-9DB9-22F74AD5BB96}"/>
              </a:ext>
            </a:extLst>
          </p:cNvPr>
          <p:cNvCxnSpPr>
            <a:stCxn id="10" idx="2"/>
            <a:endCxn id="11" idx="0"/>
          </p:cNvCxnSpPr>
          <p:nvPr/>
        </p:nvCxnSpPr>
        <p:spPr>
          <a:xfrm rot="5400000">
            <a:off x="3621686" y="125638"/>
            <a:ext cx="195542" cy="4753088"/>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0" name="Connector: Elbow 19">
            <a:extLst>
              <a:ext uri="{FF2B5EF4-FFF2-40B4-BE49-F238E27FC236}">
                <a16:creationId xmlns:a16="http://schemas.microsoft.com/office/drawing/2014/main" id="{D18B4F60-5B17-5690-8087-22A883BB58A5}"/>
              </a:ext>
            </a:extLst>
          </p:cNvPr>
          <p:cNvCxnSpPr>
            <a:stCxn id="10" idx="2"/>
            <a:endCxn id="16" idx="0"/>
          </p:cNvCxnSpPr>
          <p:nvPr/>
        </p:nvCxnSpPr>
        <p:spPr>
          <a:xfrm rot="16200000" flipH="1">
            <a:off x="8374773" y="125638"/>
            <a:ext cx="195542" cy="4753087"/>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Connector: Elbow 24">
            <a:extLst>
              <a:ext uri="{FF2B5EF4-FFF2-40B4-BE49-F238E27FC236}">
                <a16:creationId xmlns:a16="http://schemas.microsoft.com/office/drawing/2014/main" id="{E65D8421-A167-A20C-C720-52A96D1EAA69}"/>
              </a:ext>
            </a:extLst>
          </p:cNvPr>
          <p:cNvCxnSpPr>
            <a:stCxn id="10" idx="2"/>
            <a:endCxn id="15" idx="0"/>
          </p:cNvCxnSpPr>
          <p:nvPr/>
        </p:nvCxnSpPr>
        <p:spPr>
          <a:xfrm rot="16200000" flipH="1">
            <a:off x="7424156" y="1076256"/>
            <a:ext cx="195542" cy="2851852"/>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1" name="Connector: Elbow 30">
            <a:extLst>
              <a:ext uri="{FF2B5EF4-FFF2-40B4-BE49-F238E27FC236}">
                <a16:creationId xmlns:a16="http://schemas.microsoft.com/office/drawing/2014/main" id="{43B84AF1-C63A-8178-0865-2C14FAB5AE38}"/>
              </a:ext>
            </a:extLst>
          </p:cNvPr>
          <p:cNvCxnSpPr>
            <a:stCxn id="10" idx="2"/>
            <a:endCxn id="12" idx="0"/>
          </p:cNvCxnSpPr>
          <p:nvPr/>
        </p:nvCxnSpPr>
        <p:spPr>
          <a:xfrm rot="5400000">
            <a:off x="4572304" y="1076256"/>
            <a:ext cx="195542" cy="2851853"/>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8" name="Connector: Elbow 37">
            <a:extLst>
              <a:ext uri="{FF2B5EF4-FFF2-40B4-BE49-F238E27FC236}">
                <a16:creationId xmlns:a16="http://schemas.microsoft.com/office/drawing/2014/main" id="{E7EA3359-9B2B-A0BE-7C7B-9024392953F7}"/>
              </a:ext>
            </a:extLst>
          </p:cNvPr>
          <p:cNvCxnSpPr>
            <a:stCxn id="10" idx="2"/>
            <a:endCxn id="13" idx="0"/>
          </p:cNvCxnSpPr>
          <p:nvPr/>
        </p:nvCxnSpPr>
        <p:spPr>
          <a:xfrm rot="5400000">
            <a:off x="5522921" y="2026873"/>
            <a:ext cx="195542" cy="950618"/>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1" name="Connector: Elbow 40">
            <a:extLst>
              <a:ext uri="{FF2B5EF4-FFF2-40B4-BE49-F238E27FC236}">
                <a16:creationId xmlns:a16="http://schemas.microsoft.com/office/drawing/2014/main" id="{E941BDD3-0E19-BF12-852D-EE1EF47230C1}"/>
              </a:ext>
            </a:extLst>
          </p:cNvPr>
          <p:cNvCxnSpPr>
            <a:stCxn id="10" idx="2"/>
            <a:endCxn id="14" idx="0"/>
          </p:cNvCxnSpPr>
          <p:nvPr/>
        </p:nvCxnSpPr>
        <p:spPr>
          <a:xfrm rot="16200000" flipH="1">
            <a:off x="6473538" y="2026873"/>
            <a:ext cx="195542" cy="950617"/>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34AC6855-5907-9E00-AD61-B7310F3BCDA4}"/>
              </a:ext>
            </a:extLst>
          </p:cNvPr>
          <p:cNvCxnSpPr>
            <a:stCxn id="11" idx="2"/>
            <a:endCxn id="18" idx="0"/>
          </p:cNvCxnSpPr>
          <p:nvPr/>
        </p:nvCxnSpPr>
        <p:spPr>
          <a:xfrm flipH="1">
            <a:off x="1342801" y="3031953"/>
            <a:ext cx="112" cy="78089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64AF8FA9-E4F8-6EFF-CEEA-4FCCE08988EA}"/>
              </a:ext>
            </a:extLst>
          </p:cNvPr>
          <p:cNvCxnSpPr>
            <a:stCxn id="12" idx="2"/>
            <a:endCxn id="30" idx="0"/>
          </p:cNvCxnSpPr>
          <p:nvPr/>
        </p:nvCxnSpPr>
        <p:spPr>
          <a:xfrm flipH="1">
            <a:off x="3244036" y="3031953"/>
            <a:ext cx="112" cy="174449"/>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5ABAD64B-9274-89CF-615B-EF305757E18B}"/>
              </a:ext>
            </a:extLst>
          </p:cNvPr>
          <p:cNvCxnSpPr>
            <a:stCxn id="13" idx="2"/>
            <a:endCxn id="23" idx="0"/>
          </p:cNvCxnSpPr>
          <p:nvPr/>
        </p:nvCxnSpPr>
        <p:spPr>
          <a:xfrm flipH="1">
            <a:off x="5145271" y="3031953"/>
            <a:ext cx="112" cy="138734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41ECA2CD-32FC-2C08-3895-DBF1A179250E}"/>
              </a:ext>
            </a:extLst>
          </p:cNvPr>
          <p:cNvCxnSpPr>
            <a:stCxn id="14" idx="2"/>
            <a:endCxn id="37" idx="0"/>
          </p:cNvCxnSpPr>
          <p:nvPr/>
        </p:nvCxnSpPr>
        <p:spPr>
          <a:xfrm flipH="1">
            <a:off x="7046506" y="3031953"/>
            <a:ext cx="112" cy="270824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FEF0C8D5-9DE4-7D4A-8D7B-BAD82B86346C}"/>
              </a:ext>
            </a:extLst>
          </p:cNvPr>
          <p:cNvCxnSpPr>
            <a:stCxn id="15" idx="2"/>
            <a:endCxn id="28" idx="0"/>
          </p:cNvCxnSpPr>
          <p:nvPr/>
        </p:nvCxnSpPr>
        <p:spPr>
          <a:xfrm flipH="1">
            <a:off x="8947741" y="3031953"/>
            <a:ext cx="112" cy="138734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 name="Title 8">
            <a:extLst>
              <a:ext uri="{FF2B5EF4-FFF2-40B4-BE49-F238E27FC236}">
                <a16:creationId xmlns:a16="http://schemas.microsoft.com/office/drawing/2014/main" id="{4475DEDF-2E62-D309-2387-E099871C9317}"/>
              </a:ext>
            </a:extLst>
          </p:cNvPr>
          <p:cNvSpPr>
            <a:spLocks noGrp="1"/>
          </p:cNvSpPr>
          <p:nvPr>
            <p:ph type="title"/>
          </p:nvPr>
        </p:nvSpPr>
        <p:spPr/>
        <p:txBody>
          <a:bodyPr vert="horz"/>
          <a:lstStyle/>
          <a:p>
            <a:r>
              <a:rPr lang="lv-LV"/>
              <a:t>Katastrofu iedalījums atbilstoši cēlonim</a:t>
            </a:r>
            <a:br>
              <a:rPr lang="lv-LV"/>
            </a:br>
            <a:r>
              <a:rPr lang="lv-LV">
                <a:solidFill>
                  <a:srgbClr val="9D2235"/>
                </a:solidFill>
              </a:rPr>
              <a:t>Dabas katastrofas</a:t>
            </a:r>
            <a:endParaRPr lang="en-GB">
              <a:solidFill>
                <a:srgbClr val="9D2235"/>
              </a:solidFill>
            </a:endParaRPr>
          </a:p>
        </p:txBody>
      </p:sp>
      <p:sp>
        <p:nvSpPr>
          <p:cNvPr id="4" name="Slide Number Placeholder 3">
            <a:extLst>
              <a:ext uri="{FF2B5EF4-FFF2-40B4-BE49-F238E27FC236}">
                <a16:creationId xmlns:a16="http://schemas.microsoft.com/office/drawing/2014/main" id="{02CDC888-6261-3588-73ED-715CE148F6E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4160710A-5D9D-DA69-9CD1-96C46E819FB8}"/>
              </a:ext>
            </a:extLst>
          </p:cNvPr>
          <p:cNvSpPr/>
          <p:nvPr/>
        </p:nvSpPr>
        <p:spPr>
          <a:xfrm>
            <a:off x="442913" y="1828411"/>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Dabas katastrofas</a:t>
            </a:r>
            <a:endParaRPr lang="cs-CZ" sz="1600" b="1"/>
          </a:p>
        </p:txBody>
      </p:sp>
      <p:sp>
        <p:nvSpPr>
          <p:cNvPr id="11" name="Rectangle 10">
            <a:extLst>
              <a:ext uri="{FF2B5EF4-FFF2-40B4-BE49-F238E27FC236}">
                <a16:creationId xmlns:a16="http://schemas.microsoft.com/office/drawing/2014/main" id="{16541673-F5A0-7515-259C-A866EA54C4AE}"/>
              </a:ext>
            </a:extLst>
          </p:cNvPr>
          <p:cNvSpPr/>
          <p:nvPr/>
        </p:nvSpPr>
        <p:spPr>
          <a:xfrm>
            <a:off x="44291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Ģeofiziskās</a:t>
            </a:r>
            <a:endParaRPr lang="cs-CZ" sz="1400" b="1"/>
          </a:p>
        </p:txBody>
      </p:sp>
      <p:sp>
        <p:nvSpPr>
          <p:cNvPr id="12" name="Rectangle 11">
            <a:extLst>
              <a:ext uri="{FF2B5EF4-FFF2-40B4-BE49-F238E27FC236}">
                <a16:creationId xmlns:a16="http://schemas.microsoft.com/office/drawing/2014/main" id="{C00849EB-7BF8-70BB-7BD5-AE79C0A117A5}"/>
              </a:ext>
            </a:extLst>
          </p:cNvPr>
          <p:cNvSpPr/>
          <p:nvPr/>
        </p:nvSpPr>
        <p:spPr>
          <a:xfrm>
            <a:off x="2344148" y="2599953"/>
            <a:ext cx="18000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Hidroloģiskās</a:t>
            </a:r>
            <a:endParaRPr lang="cs-CZ" sz="1400" b="1"/>
          </a:p>
        </p:txBody>
      </p:sp>
      <p:sp>
        <p:nvSpPr>
          <p:cNvPr id="13" name="Rectangle 12">
            <a:extLst>
              <a:ext uri="{FF2B5EF4-FFF2-40B4-BE49-F238E27FC236}">
                <a16:creationId xmlns:a16="http://schemas.microsoft.com/office/drawing/2014/main" id="{E34959C7-6BA3-268F-55B8-C61631E7FD13}"/>
              </a:ext>
            </a:extLst>
          </p:cNvPr>
          <p:cNvSpPr/>
          <p:nvPr/>
        </p:nvSpPr>
        <p:spPr>
          <a:xfrm>
            <a:off x="424538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Meteoroloģiskās</a:t>
            </a:r>
            <a:endParaRPr lang="cs-CZ" sz="1400" b="1"/>
          </a:p>
        </p:txBody>
      </p:sp>
      <p:sp>
        <p:nvSpPr>
          <p:cNvPr id="14" name="Rectangle 13">
            <a:extLst>
              <a:ext uri="{FF2B5EF4-FFF2-40B4-BE49-F238E27FC236}">
                <a16:creationId xmlns:a16="http://schemas.microsoft.com/office/drawing/2014/main" id="{32699325-ABE2-D041-6AED-ED3728421A54}"/>
              </a:ext>
            </a:extLst>
          </p:cNvPr>
          <p:cNvSpPr/>
          <p:nvPr/>
        </p:nvSpPr>
        <p:spPr>
          <a:xfrm>
            <a:off x="6146618" y="2599953"/>
            <a:ext cx="18000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Klimatoloģiskās</a:t>
            </a:r>
            <a:endParaRPr lang="cs-CZ" sz="1400" b="1"/>
          </a:p>
        </p:txBody>
      </p:sp>
      <p:sp>
        <p:nvSpPr>
          <p:cNvPr id="15" name="Rectangle 14">
            <a:extLst>
              <a:ext uri="{FF2B5EF4-FFF2-40B4-BE49-F238E27FC236}">
                <a16:creationId xmlns:a16="http://schemas.microsoft.com/office/drawing/2014/main" id="{F6A8A608-8EBD-839B-B840-3222384B9593}"/>
              </a:ext>
            </a:extLst>
          </p:cNvPr>
          <p:cNvSpPr/>
          <p:nvPr/>
        </p:nvSpPr>
        <p:spPr>
          <a:xfrm>
            <a:off x="804785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1"/>
              <a:t>Bioloģiskās</a:t>
            </a:r>
            <a:endParaRPr lang="cs-CZ" sz="1400" b="1"/>
          </a:p>
        </p:txBody>
      </p:sp>
      <p:sp>
        <p:nvSpPr>
          <p:cNvPr id="16" name="Rectangle 15">
            <a:extLst>
              <a:ext uri="{FF2B5EF4-FFF2-40B4-BE49-F238E27FC236}">
                <a16:creationId xmlns:a16="http://schemas.microsoft.com/office/drawing/2014/main" id="{CD4758FF-3CB2-91FA-F244-3E8D0F2F8C31}"/>
              </a:ext>
            </a:extLst>
          </p:cNvPr>
          <p:cNvSpPr/>
          <p:nvPr/>
        </p:nvSpPr>
        <p:spPr>
          <a:xfrm>
            <a:off x="9949088" y="2599953"/>
            <a:ext cx="1800000" cy="432000"/>
          </a:xfrm>
          <a:prstGeom prst="rect">
            <a:avLst/>
          </a:prstGeom>
          <a:solidFill>
            <a:srgbClr val="D0CFD7"/>
          </a:solidFill>
          <a:ln w="12700">
            <a:solidFill>
              <a:srgbClr val="6F8087"/>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b="1" err="1"/>
              <a:t>Kosmisk</a:t>
            </a:r>
            <a:r>
              <a:rPr lang="lv-LV" sz="1400" b="1"/>
              <a:t>ā</a:t>
            </a:r>
            <a:r>
              <a:rPr lang="en-US" sz="1400" b="1"/>
              <a:t>s</a:t>
            </a:r>
            <a:r>
              <a:rPr lang="lv-LV" sz="1400" b="1"/>
              <a:t>*</a:t>
            </a:r>
            <a:endParaRPr lang="cs-CZ" sz="1400" b="1"/>
          </a:p>
        </p:txBody>
      </p:sp>
      <p:sp>
        <p:nvSpPr>
          <p:cNvPr id="17" name="Rectangle 16">
            <a:extLst>
              <a:ext uri="{FF2B5EF4-FFF2-40B4-BE49-F238E27FC236}">
                <a16:creationId xmlns:a16="http://schemas.microsoft.com/office/drawing/2014/main" id="{E0F69C91-CB43-DA35-6381-80C49C47A6CD}"/>
              </a:ext>
            </a:extLst>
          </p:cNvPr>
          <p:cNvSpPr/>
          <p:nvPr/>
        </p:nvSpPr>
        <p:spPr>
          <a:xfrm>
            <a:off x="44268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Zemestrīces</a:t>
            </a:r>
            <a:endParaRPr lang="en-US" sz="1400">
              <a:solidFill>
                <a:schemeClr val="tx1"/>
              </a:solidFill>
            </a:endParaRPr>
          </a:p>
        </p:txBody>
      </p:sp>
      <p:sp>
        <p:nvSpPr>
          <p:cNvPr id="18" name="Rectangle 17">
            <a:extLst>
              <a:ext uri="{FF2B5EF4-FFF2-40B4-BE49-F238E27FC236}">
                <a16:creationId xmlns:a16="http://schemas.microsoft.com/office/drawing/2014/main" id="{BF6A64EC-BC5C-FEF6-FED1-BBA289CB506C}"/>
              </a:ext>
            </a:extLst>
          </p:cNvPr>
          <p:cNvSpPr/>
          <p:nvPr/>
        </p:nvSpPr>
        <p:spPr>
          <a:xfrm>
            <a:off x="44268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Zemes</a:t>
            </a:r>
            <a:r>
              <a:rPr lang="en-US" sz="1400">
                <a:solidFill>
                  <a:schemeClr val="tx1"/>
                </a:solidFill>
              </a:rPr>
              <a:t> </a:t>
            </a:r>
            <a:r>
              <a:rPr lang="en-US" sz="1400" err="1">
                <a:solidFill>
                  <a:schemeClr val="tx1"/>
                </a:solidFill>
              </a:rPr>
              <a:t>nogruvumi</a:t>
            </a:r>
            <a:endParaRPr lang="en-US" sz="1400">
              <a:solidFill>
                <a:schemeClr val="tx1"/>
              </a:solidFill>
            </a:endParaRPr>
          </a:p>
        </p:txBody>
      </p:sp>
      <p:sp>
        <p:nvSpPr>
          <p:cNvPr id="21" name="Rectangle 20">
            <a:extLst>
              <a:ext uri="{FF2B5EF4-FFF2-40B4-BE49-F238E27FC236}">
                <a16:creationId xmlns:a16="http://schemas.microsoft.com/office/drawing/2014/main" id="{A83B97BA-1DFF-D418-E599-48D273ACB0E7}"/>
              </a:ext>
            </a:extLst>
          </p:cNvPr>
          <p:cNvSpPr/>
          <p:nvPr/>
        </p:nvSpPr>
        <p:spPr>
          <a:xfrm>
            <a:off x="424515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Lietusgāzes</a:t>
            </a:r>
            <a:r>
              <a:rPr lang="en-US" sz="1400">
                <a:solidFill>
                  <a:schemeClr val="tx1"/>
                </a:solidFill>
              </a:rPr>
              <a:t>, </a:t>
            </a:r>
            <a:r>
              <a:rPr lang="en-US" sz="1400" err="1">
                <a:solidFill>
                  <a:schemeClr val="tx1"/>
                </a:solidFill>
              </a:rPr>
              <a:t>krusa</a:t>
            </a:r>
            <a:endParaRPr lang="cs-CZ" sz="1400">
              <a:solidFill>
                <a:schemeClr val="tx1"/>
              </a:solidFill>
            </a:endParaRPr>
          </a:p>
        </p:txBody>
      </p:sp>
      <p:sp>
        <p:nvSpPr>
          <p:cNvPr id="22" name="Rectangle 21">
            <a:extLst>
              <a:ext uri="{FF2B5EF4-FFF2-40B4-BE49-F238E27FC236}">
                <a16:creationId xmlns:a16="http://schemas.microsoft.com/office/drawing/2014/main" id="{AD8E31FA-3747-7F84-CF2B-8A563CD738EC}"/>
              </a:ext>
            </a:extLst>
          </p:cNvPr>
          <p:cNvSpPr/>
          <p:nvPr/>
        </p:nvSpPr>
        <p:spPr>
          <a:xfrm>
            <a:off x="424515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Sniega</a:t>
            </a:r>
            <a:r>
              <a:rPr lang="en-US" sz="1400">
                <a:solidFill>
                  <a:schemeClr val="tx1"/>
                </a:solidFill>
              </a:rPr>
              <a:t> </a:t>
            </a:r>
            <a:r>
              <a:rPr lang="en-US" sz="1400" err="1">
                <a:solidFill>
                  <a:schemeClr val="tx1"/>
                </a:solidFill>
              </a:rPr>
              <a:t>sanesumi</a:t>
            </a:r>
            <a:endParaRPr lang="cs-CZ" sz="1400">
              <a:solidFill>
                <a:schemeClr val="tx1"/>
              </a:solidFill>
            </a:endParaRPr>
          </a:p>
        </p:txBody>
      </p:sp>
      <p:sp>
        <p:nvSpPr>
          <p:cNvPr id="23" name="Rectangle 22">
            <a:extLst>
              <a:ext uri="{FF2B5EF4-FFF2-40B4-BE49-F238E27FC236}">
                <a16:creationId xmlns:a16="http://schemas.microsoft.com/office/drawing/2014/main" id="{9B7E2143-ADE3-A002-B6C6-A0CB8CD86B3E}"/>
              </a:ext>
            </a:extLst>
          </p:cNvPr>
          <p:cNvSpPr/>
          <p:nvPr/>
        </p:nvSpPr>
        <p:spPr>
          <a:xfrm>
            <a:off x="4245158"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Vētras</a:t>
            </a:r>
            <a:r>
              <a:rPr lang="en-US" sz="1400">
                <a:solidFill>
                  <a:schemeClr val="tx1"/>
                </a:solidFill>
              </a:rPr>
              <a:t>, v</a:t>
            </a:r>
            <a:r>
              <a:rPr lang="lv-LV" sz="1400">
                <a:solidFill>
                  <a:schemeClr val="tx1"/>
                </a:solidFill>
              </a:rPr>
              <a:t>iesuļi</a:t>
            </a:r>
            <a:endParaRPr lang="cs-CZ" sz="1400">
              <a:solidFill>
                <a:schemeClr val="tx1"/>
              </a:solidFill>
            </a:endParaRPr>
          </a:p>
        </p:txBody>
      </p:sp>
      <p:sp>
        <p:nvSpPr>
          <p:cNvPr id="26" name="Rectangle 25">
            <a:extLst>
              <a:ext uri="{FF2B5EF4-FFF2-40B4-BE49-F238E27FC236}">
                <a16:creationId xmlns:a16="http://schemas.microsoft.com/office/drawing/2014/main" id="{A6B82315-CF28-1E23-A46B-CD17B7C6300B}"/>
              </a:ext>
            </a:extLst>
          </p:cNvPr>
          <p:cNvSpPr/>
          <p:nvPr/>
        </p:nvSpPr>
        <p:spPr>
          <a:xfrm>
            <a:off x="804762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Epidēmijas</a:t>
            </a:r>
            <a:endParaRPr lang="cs-CZ" sz="1400">
              <a:solidFill>
                <a:schemeClr val="tx1"/>
              </a:solidFill>
            </a:endParaRPr>
          </a:p>
        </p:txBody>
      </p:sp>
      <p:sp>
        <p:nvSpPr>
          <p:cNvPr id="27" name="Rectangle 26">
            <a:extLst>
              <a:ext uri="{FF2B5EF4-FFF2-40B4-BE49-F238E27FC236}">
                <a16:creationId xmlns:a16="http://schemas.microsoft.com/office/drawing/2014/main" id="{1AF412B4-DAB7-7B12-FABD-413771DE90B9}"/>
              </a:ext>
            </a:extLst>
          </p:cNvPr>
          <p:cNvSpPr/>
          <p:nvPr/>
        </p:nvSpPr>
        <p:spPr>
          <a:xfrm>
            <a:off x="804762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Epizootijas</a:t>
            </a:r>
            <a:endParaRPr lang="cs-CZ" sz="1400">
              <a:solidFill>
                <a:schemeClr val="tx1"/>
              </a:solidFill>
            </a:endParaRPr>
          </a:p>
        </p:txBody>
      </p:sp>
      <p:sp>
        <p:nvSpPr>
          <p:cNvPr id="28" name="Rectangle 27">
            <a:extLst>
              <a:ext uri="{FF2B5EF4-FFF2-40B4-BE49-F238E27FC236}">
                <a16:creationId xmlns:a16="http://schemas.microsoft.com/office/drawing/2014/main" id="{7B958969-4482-9D1E-A32C-E58B9CA693ED}"/>
              </a:ext>
            </a:extLst>
          </p:cNvPr>
          <p:cNvSpPr/>
          <p:nvPr/>
        </p:nvSpPr>
        <p:spPr>
          <a:xfrm>
            <a:off x="8047628"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Epifitotijas</a:t>
            </a:r>
            <a:endParaRPr lang="cs-CZ" sz="1400">
              <a:solidFill>
                <a:schemeClr val="tx1"/>
              </a:solidFill>
            </a:endParaRPr>
          </a:p>
        </p:txBody>
      </p:sp>
      <p:sp>
        <p:nvSpPr>
          <p:cNvPr id="30" name="Rectangle 29">
            <a:extLst>
              <a:ext uri="{FF2B5EF4-FFF2-40B4-BE49-F238E27FC236}">
                <a16:creationId xmlns:a16="http://schemas.microsoft.com/office/drawing/2014/main" id="{E8FE2FA4-3123-3627-1348-F9E7DFC39274}"/>
              </a:ext>
            </a:extLst>
          </p:cNvPr>
          <p:cNvSpPr/>
          <p:nvPr/>
        </p:nvSpPr>
        <p:spPr>
          <a:xfrm>
            <a:off x="2343923"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a:solidFill>
                  <a:schemeClr val="tx1"/>
                </a:solidFill>
              </a:rPr>
              <a:t>P</a:t>
            </a:r>
            <a:r>
              <a:rPr lang="en-US" sz="1400" err="1">
                <a:solidFill>
                  <a:schemeClr val="tx1"/>
                </a:solidFill>
              </a:rPr>
              <a:t>lūdi</a:t>
            </a:r>
            <a:endParaRPr lang="cs-CZ" sz="1400">
              <a:solidFill>
                <a:schemeClr val="tx1"/>
              </a:solidFill>
            </a:endParaRPr>
          </a:p>
        </p:txBody>
      </p:sp>
      <p:sp>
        <p:nvSpPr>
          <p:cNvPr id="33" name="Rectangle 32">
            <a:extLst>
              <a:ext uri="{FF2B5EF4-FFF2-40B4-BE49-F238E27FC236}">
                <a16:creationId xmlns:a16="http://schemas.microsoft.com/office/drawing/2014/main" id="{A70ACDC4-51BA-A7EF-9898-C947D39B0B1C}"/>
              </a:ext>
            </a:extLst>
          </p:cNvPr>
          <p:cNvSpPr/>
          <p:nvPr/>
        </p:nvSpPr>
        <p:spPr>
          <a:xfrm>
            <a:off x="6146393"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a:solidFill>
                  <a:schemeClr val="tx1"/>
                </a:solidFill>
              </a:rPr>
              <a:t>A</a:t>
            </a:r>
            <a:r>
              <a:rPr lang="en-US" sz="1400" err="1">
                <a:solidFill>
                  <a:schemeClr val="tx1"/>
                </a:solidFill>
              </a:rPr>
              <a:t>pledojums</a:t>
            </a:r>
            <a:endParaRPr lang="cs-CZ" sz="1400">
              <a:solidFill>
                <a:schemeClr val="tx1"/>
              </a:solidFill>
            </a:endParaRPr>
          </a:p>
        </p:txBody>
      </p:sp>
      <p:sp>
        <p:nvSpPr>
          <p:cNvPr id="35" name="Rectangle 34">
            <a:extLst>
              <a:ext uri="{FF2B5EF4-FFF2-40B4-BE49-F238E27FC236}">
                <a16:creationId xmlns:a16="http://schemas.microsoft.com/office/drawing/2014/main" id="{C71EADC6-1011-659D-2852-B59A8D87A5E1}"/>
              </a:ext>
            </a:extLst>
          </p:cNvPr>
          <p:cNvSpPr/>
          <p:nvPr/>
        </p:nvSpPr>
        <p:spPr>
          <a:xfrm>
            <a:off x="6146393"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Sausums</a:t>
            </a:r>
            <a:endParaRPr lang="cs-CZ" sz="1400">
              <a:solidFill>
                <a:schemeClr val="tx1"/>
              </a:solidFill>
            </a:endParaRPr>
          </a:p>
        </p:txBody>
      </p:sp>
      <p:sp>
        <p:nvSpPr>
          <p:cNvPr id="36" name="Rectangle 35">
            <a:extLst>
              <a:ext uri="{FF2B5EF4-FFF2-40B4-BE49-F238E27FC236}">
                <a16:creationId xmlns:a16="http://schemas.microsoft.com/office/drawing/2014/main" id="{F89196AB-4FF3-4A10-3162-92713233FEE4}"/>
              </a:ext>
            </a:extLst>
          </p:cNvPr>
          <p:cNvSpPr/>
          <p:nvPr/>
        </p:nvSpPr>
        <p:spPr>
          <a:xfrm>
            <a:off x="6146393" y="5025749"/>
            <a:ext cx="1800225" cy="54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Meža</a:t>
            </a:r>
            <a:r>
              <a:rPr lang="en-US" sz="1400">
                <a:solidFill>
                  <a:schemeClr val="tx1"/>
                </a:solidFill>
              </a:rPr>
              <a:t> un </a:t>
            </a:r>
            <a:r>
              <a:rPr lang="en-US" sz="1400" err="1">
                <a:solidFill>
                  <a:schemeClr val="tx1"/>
                </a:solidFill>
              </a:rPr>
              <a:t>kūdras</a:t>
            </a:r>
            <a:r>
              <a:rPr lang="en-US" sz="1400">
                <a:solidFill>
                  <a:schemeClr val="tx1"/>
                </a:solidFill>
              </a:rPr>
              <a:t> </a:t>
            </a:r>
            <a:r>
              <a:rPr lang="en-US" sz="1400" err="1">
                <a:solidFill>
                  <a:schemeClr val="tx1"/>
                </a:solidFill>
              </a:rPr>
              <a:t>purvu</a:t>
            </a:r>
            <a:r>
              <a:rPr lang="en-US" sz="1400">
                <a:solidFill>
                  <a:schemeClr val="tx1"/>
                </a:solidFill>
              </a:rPr>
              <a:t> </a:t>
            </a:r>
            <a:r>
              <a:rPr lang="en-US" sz="1400" err="1">
                <a:solidFill>
                  <a:schemeClr val="tx1"/>
                </a:solidFill>
              </a:rPr>
              <a:t>ugunsgrēki</a:t>
            </a:r>
            <a:endParaRPr lang="cs-CZ" sz="1400">
              <a:solidFill>
                <a:schemeClr val="tx1"/>
              </a:solidFill>
            </a:endParaRPr>
          </a:p>
        </p:txBody>
      </p:sp>
      <p:sp>
        <p:nvSpPr>
          <p:cNvPr id="37" name="Rectangle 36">
            <a:extLst>
              <a:ext uri="{FF2B5EF4-FFF2-40B4-BE49-F238E27FC236}">
                <a16:creationId xmlns:a16="http://schemas.microsoft.com/office/drawing/2014/main" id="{F8467154-1858-7042-ADE2-7AED8396B0AF}"/>
              </a:ext>
            </a:extLst>
          </p:cNvPr>
          <p:cNvSpPr/>
          <p:nvPr/>
        </p:nvSpPr>
        <p:spPr>
          <a:xfrm>
            <a:off x="6146393" y="5740198"/>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Karstums</a:t>
            </a:r>
            <a:endParaRPr lang="cs-CZ" sz="1400">
              <a:solidFill>
                <a:schemeClr val="tx1"/>
              </a:solidFill>
            </a:endParaRPr>
          </a:p>
        </p:txBody>
      </p:sp>
      <p:sp>
        <p:nvSpPr>
          <p:cNvPr id="32" name="Rectangle 31">
            <a:extLst>
              <a:ext uri="{FF2B5EF4-FFF2-40B4-BE49-F238E27FC236}">
                <a16:creationId xmlns:a16="http://schemas.microsoft.com/office/drawing/2014/main" id="{8ABFBFDC-CA0E-4731-3A1F-4825867FD4CF}"/>
              </a:ext>
            </a:extLst>
          </p:cNvPr>
          <p:cNvSpPr/>
          <p:nvPr/>
        </p:nvSpPr>
        <p:spPr>
          <a:xfrm>
            <a:off x="6146393"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err="1">
                <a:solidFill>
                  <a:schemeClr val="tx1"/>
                </a:solidFill>
              </a:rPr>
              <a:t>Stiprs</a:t>
            </a:r>
            <a:r>
              <a:rPr lang="en-US" sz="1400">
                <a:solidFill>
                  <a:schemeClr val="tx1"/>
                </a:solidFill>
              </a:rPr>
              <a:t> </a:t>
            </a:r>
            <a:r>
              <a:rPr lang="en-US" sz="1400" err="1">
                <a:solidFill>
                  <a:schemeClr val="tx1"/>
                </a:solidFill>
              </a:rPr>
              <a:t>sals</a:t>
            </a:r>
            <a:r>
              <a:rPr lang="en-US" sz="1400">
                <a:solidFill>
                  <a:schemeClr val="tx1"/>
                </a:solidFill>
              </a:rPr>
              <a:t>, </a:t>
            </a:r>
            <a:r>
              <a:rPr lang="en-US" sz="1400" err="1">
                <a:solidFill>
                  <a:schemeClr val="tx1"/>
                </a:solidFill>
              </a:rPr>
              <a:t>sniegs</a:t>
            </a:r>
            <a:endParaRPr lang="cs-CZ" sz="1400">
              <a:solidFill>
                <a:schemeClr val="tx1"/>
              </a:solidFill>
            </a:endParaRPr>
          </a:p>
        </p:txBody>
      </p:sp>
      <p:sp>
        <p:nvSpPr>
          <p:cNvPr id="3" name="TextBox 2">
            <a:extLst>
              <a:ext uri="{FF2B5EF4-FFF2-40B4-BE49-F238E27FC236}">
                <a16:creationId xmlns:a16="http://schemas.microsoft.com/office/drawing/2014/main" id="{9C6D97C2-F236-452B-18FC-09F24D1CEA02}"/>
              </a:ext>
            </a:extLst>
          </p:cNvPr>
          <p:cNvSpPr txBox="1"/>
          <p:nvPr/>
        </p:nvSpPr>
        <p:spPr>
          <a:xfrm>
            <a:off x="442688" y="6322963"/>
            <a:ext cx="11057709" cy="169277"/>
          </a:xfrm>
          <a:prstGeom prst="rect">
            <a:avLst/>
          </a:prstGeom>
          <a:noFill/>
        </p:spPr>
        <p:txBody>
          <a:bodyPr wrap="square" lIns="0" tIns="0" rIns="0" bIns="0" rtlCol="0">
            <a:spAutoFit/>
          </a:bodyPr>
          <a:lstStyle/>
          <a:p>
            <a:pPr>
              <a:lnSpc>
                <a:spcPct val="100000"/>
              </a:lnSpc>
              <a:spcAft>
                <a:spcPts val="600"/>
              </a:spcAft>
              <a:buSzPct val="100000"/>
            </a:pPr>
            <a:r>
              <a:rPr lang="lv-LV" sz="1100">
                <a:solidFill>
                  <a:srgbClr val="525A72"/>
                </a:solidFill>
              </a:rPr>
              <a:t>*Valsts civilās aizsardzības plānā nav iekļautas kosmiskās katastrofas</a:t>
            </a:r>
          </a:p>
        </p:txBody>
      </p:sp>
      <p:sp>
        <p:nvSpPr>
          <p:cNvPr id="19" name="Rectangle 18">
            <a:extLst>
              <a:ext uri="{FF2B5EF4-FFF2-40B4-BE49-F238E27FC236}">
                <a16:creationId xmlns:a16="http://schemas.microsoft.com/office/drawing/2014/main" id="{6D93C598-4DC4-6294-0F5A-C6C4CCAD941D}"/>
              </a:ext>
            </a:extLst>
          </p:cNvPr>
          <p:cNvSpPr/>
          <p:nvPr/>
        </p:nvSpPr>
        <p:spPr>
          <a:xfrm>
            <a:off x="442688" y="5685709"/>
            <a:ext cx="2371407"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200">
                <a:solidFill>
                  <a:schemeClr val="tx1"/>
                </a:solidFill>
                <a:hlinkClick r:id="rId3">
                  <a:extLst>
                    <a:ext uri="{A12FA001-AC4F-418D-AE19-62706E023703}">
                      <ahyp:hlinkClr xmlns:ahyp="http://schemas.microsoft.com/office/drawing/2018/hyperlinkcolor" val="tx"/>
                    </a:ext>
                  </a:extLst>
                </a:hlinkClick>
              </a:rPr>
              <a:t>Civilās aizsardzības un katastrofas pārvaldīšanas likums</a:t>
            </a:r>
            <a:endParaRPr lang="lv-LV" sz="1200">
              <a:solidFill>
                <a:schemeClr val="tx1"/>
              </a:solidFill>
            </a:endParaRPr>
          </a:p>
        </p:txBody>
      </p:sp>
      <p:sp>
        <p:nvSpPr>
          <p:cNvPr id="24" name="Freeform 50">
            <a:extLst>
              <a:ext uri="{FF2B5EF4-FFF2-40B4-BE49-F238E27FC236}">
                <a16:creationId xmlns:a16="http://schemas.microsoft.com/office/drawing/2014/main" id="{8FD7ACE0-51A3-AE13-E269-1CD8F54FFF5D}"/>
              </a:ext>
            </a:extLst>
          </p:cNvPr>
          <p:cNvSpPr>
            <a:spLocks noChangeAspect="1"/>
          </p:cNvSpPr>
          <p:nvPr/>
        </p:nvSpPr>
        <p:spPr bwMode="auto">
          <a:xfrm>
            <a:off x="552574" y="586183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spTree>
    <p:extLst>
      <p:ext uri="{BB962C8B-B14F-4D97-AF65-F5344CB8AC3E}">
        <p14:creationId xmlns:p14="http://schemas.microsoft.com/office/powerpoint/2010/main" val="3636101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8D028A7C-4D1D-B8D0-33B0-2F6B65307001}"/>
              </a:ext>
            </a:extLst>
          </p:cNvPr>
          <p:cNvCxnSpPr>
            <a:cxnSpLocks/>
            <a:stCxn id="16" idx="2"/>
            <a:endCxn id="34" idx="0"/>
          </p:cNvCxnSpPr>
          <p:nvPr/>
        </p:nvCxnSpPr>
        <p:spPr>
          <a:xfrm>
            <a:off x="6993732" y="3078220"/>
            <a:ext cx="17144" cy="280598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75" name="Rectangle 2074">
            <a:extLst>
              <a:ext uri="{FF2B5EF4-FFF2-40B4-BE49-F238E27FC236}">
                <a16:creationId xmlns:a16="http://schemas.microsoft.com/office/drawing/2014/main" id="{E137241E-4C0E-D775-79D3-0F56683C045F}"/>
              </a:ext>
            </a:extLst>
          </p:cNvPr>
          <p:cNvSpPr/>
          <p:nvPr/>
        </p:nvSpPr>
        <p:spPr>
          <a:xfrm>
            <a:off x="5680233" y="2224411"/>
            <a:ext cx="412592" cy="180000"/>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9D84DE5B-F5D7-A893-16BE-B21220BE434D}"/>
              </a:ext>
            </a:extLst>
          </p:cNvPr>
          <p:cNvSpPr/>
          <p:nvPr/>
        </p:nvSpPr>
        <p:spPr>
          <a:xfrm>
            <a:off x="441325" y="1828411"/>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Antropogēnās jeb cilvēku izraisītās katastrofas</a:t>
            </a:r>
            <a:endParaRPr lang="cs-CZ" sz="1600" b="1"/>
          </a:p>
        </p:txBody>
      </p:sp>
      <p:sp>
        <p:nvSpPr>
          <p:cNvPr id="9" name="Title 8">
            <a:extLst>
              <a:ext uri="{FF2B5EF4-FFF2-40B4-BE49-F238E27FC236}">
                <a16:creationId xmlns:a16="http://schemas.microsoft.com/office/drawing/2014/main" id="{4475DEDF-2E62-D309-2387-E099871C9317}"/>
              </a:ext>
            </a:extLst>
          </p:cNvPr>
          <p:cNvSpPr>
            <a:spLocks noGrp="1"/>
          </p:cNvSpPr>
          <p:nvPr>
            <p:ph type="title"/>
          </p:nvPr>
        </p:nvSpPr>
        <p:spPr>
          <a:xfrm>
            <a:off x="442913" y="432001"/>
            <a:ext cx="11306175" cy="1387274"/>
          </a:xfrm>
        </p:spPr>
        <p:txBody>
          <a:bodyPr vert="horz"/>
          <a:lstStyle/>
          <a:p>
            <a:r>
              <a:rPr lang="lv-LV"/>
              <a:t>Katastrofu iedalījums atbilstoši cēlonim</a:t>
            </a:r>
            <a:br>
              <a:rPr lang="lv-LV"/>
            </a:br>
            <a:r>
              <a:rPr lang="lv-LV">
                <a:solidFill>
                  <a:srgbClr val="9D2235"/>
                </a:solidFill>
              </a:rPr>
              <a:t>Antropogēnās jeb cilvēku izraisītās katastrofas</a:t>
            </a:r>
            <a:br>
              <a:rPr lang="lv-LV">
                <a:solidFill>
                  <a:srgbClr val="9D2235"/>
                </a:solidFill>
              </a:rPr>
            </a:br>
            <a:endParaRPr lang="en-GB"/>
          </a:p>
        </p:txBody>
      </p:sp>
      <p:sp>
        <p:nvSpPr>
          <p:cNvPr id="4" name="Slide Number Placeholder 3">
            <a:extLst>
              <a:ext uri="{FF2B5EF4-FFF2-40B4-BE49-F238E27FC236}">
                <a16:creationId xmlns:a16="http://schemas.microsoft.com/office/drawing/2014/main" id="{02CDC888-6261-3588-73ED-715CE148F6E6}"/>
              </a:ext>
            </a:extLst>
          </p:cNvPr>
          <p:cNvSpPr>
            <a:spLocks noGrp="1"/>
          </p:cNvSpPr>
          <p:nvPr>
            <p:ph type="sldNum" sz="quarter" idx="11"/>
          </p:nvPr>
        </p:nvSpPr>
        <p:spPr>
          <a:xfrm>
            <a:off x="9984296" y="6492240"/>
            <a:ext cx="1764792" cy="137160"/>
          </a:xfrm>
        </p:spPr>
        <p:txBody>
          <a:bodyPr/>
          <a:lstStyle/>
          <a:p>
            <a:pPr lvl="0"/>
            <a:fld id="{7870704B-CE94-48CC-AF30-84932A1262A7}" type="slidenum">
              <a:rPr lang="en-GB" noProof="0" smtClean="0"/>
              <a:pPr lvl="0"/>
              <a:t>6</a:t>
            </a:fld>
            <a:endParaRPr lang="en-GB" noProof="0"/>
          </a:p>
        </p:txBody>
      </p:sp>
      <p:sp>
        <p:nvSpPr>
          <p:cNvPr id="16" name="Rectangle 15">
            <a:extLst>
              <a:ext uri="{FF2B5EF4-FFF2-40B4-BE49-F238E27FC236}">
                <a16:creationId xmlns:a16="http://schemas.microsoft.com/office/drawing/2014/main" id="{8BEAEAF0-8F60-496D-E8E0-6834F6B83B23}"/>
              </a:ext>
            </a:extLst>
          </p:cNvPr>
          <p:cNvSpPr/>
          <p:nvPr/>
        </p:nvSpPr>
        <p:spPr>
          <a:xfrm>
            <a:off x="5228432" y="2646220"/>
            <a:ext cx="35306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t>Tehnogēnās katastrofas</a:t>
            </a:r>
            <a:endParaRPr lang="cs-CZ" sz="1200" b="1"/>
          </a:p>
        </p:txBody>
      </p:sp>
      <p:sp>
        <p:nvSpPr>
          <p:cNvPr id="17" name="Rectangle 16">
            <a:extLst>
              <a:ext uri="{FF2B5EF4-FFF2-40B4-BE49-F238E27FC236}">
                <a16:creationId xmlns:a16="http://schemas.microsoft.com/office/drawing/2014/main" id="{B1F2C88E-5233-4E2E-BB0B-A705ECD84F7F}"/>
              </a:ext>
            </a:extLst>
          </p:cNvPr>
          <p:cNvSpPr/>
          <p:nvPr/>
        </p:nvSpPr>
        <p:spPr>
          <a:xfrm>
            <a:off x="5228432" y="3221931"/>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Vielu noplūdes (avārijas)</a:t>
            </a:r>
            <a:endParaRPr lang="cs-CZ" sz="1200" b="1">
              <a:solidFill>
                <a:schemeClr val="tx1"/>
              </a:solidFill>
            </a:endParaRPr>
          </a:p>
        </p:txBody>
      </p:sp>
      <p:sp>
        <p:nvSpPr>
          <p:cNvPr id="18" name="Rectangle 17">
            <a:extLst>
              <a:ext uri="{FF2B5EF4-FFF2-40B4-BE49-F238E27FC236}">
                <a16:creationId xmlns:a16="http://schemas.microsoft.com/office/drawing/2014/main" id="{B1E38AD3-53EF-E3D7-A0C0-A923AA02B1EF}"/>
              </a:ext>
            </a:extLst>
          </p:cNvPr>
          <p:cNvSpPr/>
          <p:nvPr/>
        </p:nvSpPr>
        <p:spPr>
          <a:xfrm>
            <a:off x="5228432" y="3653642"/>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Ēkās un būvēs izcēlušies ugunsgrēki</a:t>
            </a:r>
            <a:endParaRPr lang="cs-CZ" sz="1200" b="1">
              <a:solidFill>
                <a:schemeClr val="tx1"/>
              </a:solidFill>
            </a:endParaRPr>
          </a:p>
        </p:txBody>
      </p:sp>
      <p:sp>
        <p:nvSpPr>
          <p:cNvPr id="19" name="Rectangle 18">
            <a:extLst>
              <a:ext uri="{FF2B5EF4-FFF2-40B4-BE49-F238E27FC236}">
                <a16:creationId xmlns:a16="http://schemas.microsoft.com/office/drawing/2014/main" id="{B4BAF7E5-CAC7-8245-AD27-2C38EBEC645E}"/>
              </a:ext>
            </a:extLst>
          </p:cNvPr>
          <p:cNvSpPr/>
          <p:nvPr/>
        </p:nvSpPr>
        <p:spPr>
          <a:xfrm>
            <a:off x="5228432" y="4085353"/>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Ēku un būvju sabrukums</a:t>
            </a:r>
            <a:endParaRPr lang="cs-CZ" sz="1200" b="1">
              <a:solidFill>
                <a:schemeClr val="tx1"/>
              </a:solidFill>
            </a:endParaRPr>
          </a:p>
        </p:txBody>
      </p:sp>
      <p:sp>
        <p:nvSpPr>
          <p:cNvPr id="20" name="Rectangle 19">
            <a:extLst>
              <a:ext uri="{FF2B5EF4-FFF2-40B4-BE49-F238E27FC236}">
                <a16:creationId xmlns:a16="http://schemas.microsoft.com/office/drawing/2014/main" id="{42982202-AE46-7EC9-E702-D53319A8A2B2}"/>
              </a:ext>
            </a:extLst>
          </p:cNvPr>
          <p:cNvSpPr/>
          <p:nvPr/>
        </p:nvSpPr>
        <p:spPr>
          <a:xfrm>
            <a:off x="5228432" y="4517064"/>
            <a:ext cx="3530600"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Dambju un citu hidrotehnisko </a:t>
            </a:r>
            <a:endParaRPr lang="en-US" sz="1200" b="1">
              <a:solidFill>
                <a:schemeClr val="tx1"/>
              </a:solidFill>
            </a:endParaRPr>
          </a:p>
          <a:p>
            <a:pPr algn="ctr">
              <a:lnSpc>
                <a:spcPct val="100000"/>
              </a:lnSpc>
            </a:pPr>
            <a:r>
              <a:rPr lang="lv-LV" sz="1200" b="1">
                <a:solidFill>
                  <a:schemeClr val="tx1"/>
                </a:solidFill>
              </a:rPr>
              <a:t>būvju pārrāvums</a:t>
            </a:r>
            <a:endParaRPr lang="cs-CZ" sz="1200" b="1">
              <a:solidFill>
                <a:schemeClr val="tx1"/>
              </a:solidFill>
            </a:endParaRPr>
          </a:p>
        </p:txBody>
      </p:sp>
      <p:sp>
        <p:nvSpPr>
          <p:cNvPr id="21" name="Rectangle 20">
            <a:extLst>
              <a:ext uri="{FF2B5EF4-FFF2-40B4-BE49-F238E27FC236}">
                <a16:creationId xmlns:a16="http://schemas.microsoft.com/office/drawing/2014/main" id="{CD97BD02-F15B-8B90-B835-44164E7DED49}"/>
              </a:ext>
            </a:extLst>
          </p:cNvPr>
          <p:cNvSpPr/>
          <p:nvPr/>
        </p:nvSpPr>
        <p:spPr>
          <a:xfrm>
            <a:off x="5228432" y="5020775"/>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Elektrotīklu bojājumi</a:t>
            </a:r>
            <a:endParaRPr lang="cs-CZ" sz="1200" b="1">
              <a:solidFill>
                <a:schemeClr val="tx1"/>
              </a:solidFill>
            </a:endParaRPr>
          </a:p>
        </p:txBody>
      </p:sp>
      <p:sp>
        <p:nvSpPr>
          <p:cNvPr id="22" name="Rectangle 21">
            <a:extLst>
              <a:ext uri="{FF2B5EF4-FFF2-40B4-BE49-F238E27FC236}">
                <a16:creationId xmlns:a16="http://schemas.microsoft.com/office/drawing/2014/main" id="{0AE5A568-9660-918E-35CF-7E5606DC17A7}"/>
              </a:ext>
            </a:extLst>
          </p:cNvPr>
          <p:cNvSpPr/>
          <p:nvPr/>
        </p:nvSpPr>
        <p:spPr>
          <a:xfrm>
            <a:off x="5228432" y="5452486"/>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Komunālo tīklu avārijas</a:t>
            </a:r>
            <a:endParaRPr lang="cs-CZ" sz="1200" b="1">
              <a:solidFill>
                <a:schemeClr val="tx1"/>
              </a:solidFill>
            </a:endParaRPr>
          </a:p>
        </p:txBody>
      </p:sp>
      <p:sp>
        <p:nvSpPr>
          <p:cNvPr id="23" name="Rectangle 22">
            <a:extLst>
              <a:ext uri="{FF2B5EF4-FFF2-40B4-BE49-F238E27FC236}">
                <a16:creationId xmlns:a16="http://schemas.microsoft.com/office/drawing/2014/main" id="{49DD505E-001C-3EE5-70FA-4E70E3127E7F}"/>
              </a:ext>
            </a:extLst>
          </p:cNvPr>
          <p:cNvSpPr/>
          <p:nvPr/>
        </p:nvSpPr>
        <p:spPr>
          <a:xfrm>
            <a:off x="2834879" y="2646220"/>
            <a:ext cx="223774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Sabiedriskās nekārtības, </a:t>
            </a:r>
            <a:endParaRPr lang="en-US" sz="1200" b="1">
              <a:solidFill>
                <a:schemeClr val="tx1"/>
              </a:solidFill>
            </a:endParaRPr>
          </a:p>
          <a:p>
            <a:pPr algn="ctr">
              <a:lnSpc>
                <a:spcPct val="100000"/>
              </a:lnSpc>
            </a:pPr>
            <a:r>
              <a:rPr lang="lv-LV" sz="1200" b="1">
                <a:solidFill>
                  <a:schemeClr val="tx1"/>
                </a:solidFill>
              </a:rPr>
              <a:t>iekšējie nemieri</a:t>
            </a:r>
            <a:endParaRPr lang="cs-CZ" sz="1200" b="1">
              <a:solidFill>
                <a:schemeClr val="tx1"/>
              </a:solidFill>
            </a:endParaRPr>
          </a:p>
        </p:txBody>
      </p:sp>
      <p:sp>
        <p:nvSpPr>
          <p:cNvPr id="24" name="Rectangle 23">
            <a:extLst>
              <a:ext uri="{FF2B5EF4-FFF2-40B4-BE49-F238E27FC236}">
                <a16:creationId xmlns:a16="http://schemas.microsoft.com/office/drawing/2014/main" id="{2DA901CD-6E45-11E8-9C9D-BF9F0B40E75C}"/>
              </a:ext>
            </a:extLst>
          </p:cNvPr>
          <p:cNvSpPr/>
          <p:nvPr/>
        </p:nvSpPr>
        <p:spPr>
          <a:xfrm>
            <a:off x="441325" y="2646220"/>
            <a:ext cx="223774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Terora akti</a:t>
            </a:r>
            <a:endParaRPr lang="cs-CZ" sz="1200" b="1">
              <a:solidFill>
                <a:schemeClr val="tx1"/>
              </a:solidFill>
            </a:endParaRPr>
          </a:p>
        </p:txBody>
      </p:sp>
      <p:sp>
        <p:nvSpPr>
          <p:cNvPr id="25" name="Rectangle 24">
            <a:extLst>
              <a:ext uri="{FF2B5EF4-FFF2-40B4-BE49-F238E27FC236}">
                <a16:creationId xmlns:a16="http://schemas.microsoft.com/office/drawing/2014/main" id="{BF30206C-12D4-EEB7-CE89-0C07AC6F469B}"/>
              </a:ext>
            </a:extLst>
          </p:cNvPr>
          <p:cNvSpPr/>
          <p:nvPr/>
        </p:nvSpPr>
        <p:spPr>
          <a:xfrm>
            <a:off x="9377679" y="365397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Ķīmisko vielu</a:t>
            </a:r>
            <a:endParaRPr lang="cs-CZ" sz="1200" b="1">
              <a:solidFill>
                <a:schemeClr val="tx1"/>
              </a:solidFill>
            </a:endParaRPr>
          </a:p>
        </p:txBody>
      </p:sp>
      <p:sp>
        <p:nvSpPr>
          <p:cNvPr id="26" name="Rectangle 25">
            <a:extLst>
              <a:ext uri="{FF2B5EF4-FFF2-40B4-BE49-F238E27FC236}">
                <a16:creationId xmlns:a16="http://schemas.microsoft.com/office/drawing/2014/main" id="{1067623A-B3C5-52F5-03E5-D1B8EDD0DF31}"/>
              </a:ext>
            </a:extLst>
          </p:cNvPr>
          <p:cNvSpPr/>
          <p:nvPr/>
        </p:nvSpPr>
        <p:spPr>
          <a:xfrm>
            <a:off x="9377679" y="408535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Bioloģisko vielu</a:t>
            </a:r>
            <a:endParaRPr lang="cs-CZ" sz="1200" b="1">
              <a:solidFill>
                <a:schemeClr val="tx1"/>
              </a:solidFill>
            </a:endParaRPr>
          </a:p>
        </p:txBody>
      </p:sp>
      <p:sp>
        <p:nvSpPr>
          <p:cNvPr id="27" name="Rectangle 26">
            <a:extLst>
              <a:ext uri="{FF2B5EF4-FFF2-40B4-BE49-F238E27FC236}">
                <a16:creationId xmlns:a16="http://schemas.microsoft.com/office/drawing/2014/main" id="{2D84E03B-9A7B-A02D-97B5-D94E764ABF89}"/>
              </a:ext>
            </a:extLst>
          </p:cNvPr>
          <p:cNvSpPr/>
          <p:nvPr/>
        </p:nvSpPr>
        <p:spPr>
          <a:xfrm>
            <a:off x="9377679" y="322259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Radiācijas</a:t>
            </a:r>
            <a:endParaRPr lang="cs-CZ" sz="1200" b="1">
              <a:solidFill>
                <a:schemeClr val="tx1"/>
              </a:solidFill>
            </a:endParaRPr>
          </a:p>
        </p:txBody>
      </p:sp>
      <p:sp>
        <p:nvSpPr>
          <p:cNvPr id="34" name="Rectangle 33">
            <a:extLst>
              <a:ext uri="{FF2B5EF4-FFF2-40B4-BE49-F238E27FC236}">
                <a16:creationId xmlns:a16="http://schemas.microsoft.com/office/drawing/2014/main" id="{B7B8A45B-AEFD-DCA9-0558-B0D90D3C7B43}"/>
              </a:ext>
            </a:extLst>
          </p:cNvPr>
          <p:cNvSpPr/>
          <p:nvPr/>
        </p:nvSpPr>
        <p:spPr>
          <a:xfrm>
            <a:off x="5245576" y="5884200"/>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Transporta avārijas</a:t>
            </a:r>
            <a:endParaRPr lang="cs-CZ" sz="1200" b="1">
              <a:solidFill>
                <a:schemeClr val="tx1"/>
              </a:solidFill>
            </a:endParaRPr>
          </a:p>
        </p:txBody>
      </p:sp>
      <p:sp>
        <p:nvSpPr>
          <p:cNvPr id="35" name="Rectangle 34">
            <a:extLst>
              <a:ext uri="{FF2B5EF4-FFF2-40B4-BE49-F238E27FC236}">
                <a16:creationId xmlns:a16="http://schemas.microsoft.com/office/drawing/2014/main" id="{E744447C-4F1F-BE8D-7558-98EACB739874}"/>
              </a:ext>
            </a:extLst>
          </p:cNvPr>
          <p:cNvSpPr/>
          <p:nvPr/>
        </p:nvSpPr>
        <p:spPr>
          <a:xfrm>
            <a:off x="2238060" y="5884862"/>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Aviācijas</a:t>
            </a:r>
            <a:endParaRPr lang="cs-CZ" sz="1200" b="1">
              <a:solidFill>
                <a:schemeClr val="tx1"/>
              </a:solidFill>
            </a:endParaRPr>
          </a:p>
        </p:txBody>
      </p:sp>
      <p:sp>
        <p:nvSpPr>
          <p:cNvPr id="36" name="Rectangle 35">
            <a:extLst>
              <a:ext uri="{FF2B5EF4-FFF2-40B4-BE49-F238E27FC236}">
                <a16:creationId xmlns:a16="http://schemas.microsoft.com/office/drawing/2014/main" id="{A0389670-D435-716D-7028-31CE40ECF7A5}"/>
              </a:ext>
            </a:extLst>
          </p:cNvPr>
          <p:cNvSpPr/>
          <p:nvPr/>
        </p:nvSpPr>
        <p:spPr>
          <a:xfrm>
            <a:off x="2238060" y="5453150"/>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Autotransporta</a:t>
            </a:r>
            <a:endParaRPr lang="cs-CZ" sz="1200" b="1">
              <a:solidFill>
                <a:schemeClr val="tx1"/>
              </a:solidFill>
            </a:endParaRPr>
          </a:p>
        </p:txBody>
      </p:sp>
      <p:sp>
        <p:nvSpPr>
          <p:cNvPr id="37" name="Rectangle 36">
            <a:extLst>
              <a:ext uri="{FF2B5EF4-FFF2-40B4-BE49-F238E27FC236}">
                <a16:creationId xmlns:a16="http://schemas.microsoft.com/office/drawing/2014/main" id="{034A5F98-DAD4-A147-D74A-8A66FEDB91E7}"/>
              </a:ext>
            </a:extLst>
          </p:cNvPr>
          <p:cNvSpPr/>
          <p:nvPr/>
        </p:nvSpPr>
        <p:spPr>
          <a:xfrm>
            <a:off x="2238060" y="5021438"/>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Dzelzceļa</a:t>
            </a:r>
            <a:endParaRPr lang="cs-CZ" sz="1200" b="1">
              <a:solidFill>
                <a:schemeClr val="tx1"/>
              </a:solidFill>
            </a:endParaRPr>
          </a:p>
        </p:txBody>
      </p:sp>
      <p:sp>
        <p:nvSpPr>
          <p:cNvPr id="38" name="Rectangle 37">
            <a:extLst>
              <a:ext uri="{FF2B5EF4-FFF2-40B4-BE49-F238E27FC236}">
                <a16:creationId xmlns:a16="http://schemas.microsoft.com/office/drawing/2014/main" id="{CF0D17AB-C101-3E43-A499-2608FDFBF2B8}"/>
              </a:ext>
            </a:extLst>
          </p:cNvPr>
          <p:cNvSpPr/>
          <p:nvPr/>
        </p:nvSpPr>
        <p:spPr>
          <a:xfrm>
            <a:off x="2238060" y="4589726"/>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200" b="1">
                <a:solidFill>
                  <a:schemeClr val="tx1"/>
                </a:solidFill>
              </a:rPr>
              <a:t>Kuģu</a:t>
            </a:r>
            <a:endParaRPr lang="cs-CZ" sz="1200" b="1">
              <a:solidFill>
                <a:schemeClr val="tx1"/>
              </a:solidFill>
            </a:endParaRPr>
          </a:p>
        </p:txBody>
      </p:sp>
      <p:cxnSp>
        <p:nvCxnSpPr>
          <p:cNvPr id="2070" name="Connector: Elbow 2069">
            <a:extLst>
              <a:ext uri="{FF2B5EF4-FFF2-40B4-BE49-F238E27FC236}">
                <a16:creationId xmlns:a16="http://schemas.microsoft.com/office/drawing/2014/main" id="{C65A2074-51BD-FD48-A29D-7618E17FBAB9}"/>
              </a:ext>
            </a:extLst>
          </p:cNvPr>
          <p:cNvCxnSpPr>
            <a:cxnSpLocks/>
            <a:stCxn id="15" idx="2"/>
            <a:endCxn id="23" idx="0"/>
          </p:cNvCxnSpPr>
          <p:nvPr/>
        </p:nvCxnSpPr>
        <p:spPr>
          <a:xfrm rot="5400000">
            <a:off x="4903177" y="1454983"/>
            <a:ext cx="241809" cy="2140664"/>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6" name="Rectangle 5">
            <a:extLst>
              <a:ext uri="{FF2B5EF4-FFF2-40B4-BE49-F238E27FC236}">
                <a16:creationId xmlns:a16="http://schemas.microsoft.com/office/drawing/2014/main" id="{32FA323C-4DF5-909B-878D-1628B45E296E}"/>
              </a:ext>
            </a:extLst>
          </p:cNvPr>
          <p:cNvSpPr/>
          <p:nvPr/>
        </p:nvSpPr>
        <p:spPr>
          <a:xfrm>
            <a:off x="9377679" y="5444839"/>
            <a:ext cx="2371407" cy="72736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200">
                <a:solidFill>
                  <a:schemeClr val="tx1"/>
                </a:solidFill>
                <a:hlinkClick r:id="rId3">
                  <a:extLst>
                    <a:ext uri="{A12FA001-AC4F-418D-AE19-62706E023703}">
                      <ahyp:hlinkClr xmlns:ahyp="http://schemas.microsoft.com/office/drawing/2018/hyperlinkcolor" val="tx"/>
                    </a:ext>
                  </a:extLst>
                </a:hlinkClick>
              </a:rPr>
              <a:t>Civilās aizsardzības un katastrofas pārvaldīšanas likums</a:t>
            </a:r>
            <a:endParaRPr lang="lv-LV" sz="1200">
              <a:solidFill>
                <a:schemeClr val="tx1"/>
              </a:solidFill>
            </a:endParaRPr>
          </a:p>
        </p:txBody>
      </p:sp>
      <p:sp>
        <p:nvSpPr>
          <p:cNvPr id="8" name="Freeform 50">
            <a:extLst>
              <a:ext uri="{FF2B5EF4-FFF2-40B4-BE49-F238E27FC236}">
                <a16:creationId xmlns:a16="http://schemas.microsoft.com/office/drawing/2014/main" id="{4528EADE-8BEF-5FCB-E3FF-940456310D42}"/>
              </a:ext>
            </a:extLst>
          </p:cNvPr>
          <p:cNvSpPr>
            <a:spLocks noChangeAspect="1"/>
          </p:cNvSpPr>
          <p:nvPr/>
        </p:nvSpPr>
        <p:spPr bwMode="auto">
          <a:xfrm>
            <a:off x="9487565" y="566691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cxnSp>
        <p:nvCxnSpPr>
          <p:cNvPr id="41" name="Straight Arrow Connector 40">
            <a:extLst>
              <a:ext uri="{FF2B5EF4-FFF2-40B4-BE49-F238E27FC236}">
                <a16:creationId xmlns:a16="http://schemas.microsoft.com/office/drawing/2014/main" id="{CEAAADF5-671B-80A4-6E5E-DA04481BCBC1}"/>
              </a:ext>
            </a:extLst>
          </p:cNvPr>
          <p:cNvCxnSpPr>
            <a:stCxn id="17" idx="3"/>
            <a:endCxn id="27" idx="1"/>
          </p:cNvCxnSpPr>
          <p:nvPr/>
        </p:nvCxnSpPr>
        <p:spPr>
          <a:xfrm>
            <a:off x="8759032" y="3365931"/>
            <a:ext cx="618647" cy="33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47" name="Connector: Elbow 46">
            <a:extLst>
              <a:ext uri="{FF2B5EF4-FFF2-40B4-BE49-F238E27FC236}">
                <a16:creationId xmlns:a16="http://schemas.microsoft.com/office/drawing/2014/main" id="{077E2C34-DC09-2879-AACF-29F0C6604DF5}"/>
              </a:ext>
            </a:extLst>
          </p:cNvPr>
          <p:cNvCxnSpPr>
            <a:stCxn id="17" idx="3"/>
            <a:endCxn id="25" idx="1"/>
          </p:cNvCxnSpPr>
          <p:nvPr/>
        </p:nvCxnSpPr>
        <p:spPr>
          <a:xfrm>
            <a:off x="8759032" y="3365931"/>
            <a:ext cx="618647" cy="431711"/>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1" name="Connector: Elbow 50">
            <a:extLst>
              <a:ext uri="{FF2B5EF4-FFF2-40B4-BE49-F238E27FC236}">
                <a16:creationId xmlns:a16="http://schemas.microsoft.com/office/drawing/2014/main" id="{DAB9DF14-D314-01A6-E5C4-003DA0BC7733}"/>
              </a:ext>
            </a:extLst>
          </p:cNvPr>
          <p:cNvCxnSpPr>
            <a:stCxn id="17" idx="3"/>
            <a:endCxn id="26" idx="1"/>
          </p:cNvCxnSpPr>
          <p:nvPr/>
        </p:nvCxnSpPr>
        <p:spPr>
          <a:xfrm>
            <a:off x="8759032" y="3365931"/>
            <a:ext cx="618647" cy="863091"/>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0" name="Connector: Elbow 29">
            <a:extLst>
              <a:ext uri="{FF2B5EF4-FFF2-40B4-BE49-F238E27FC236}">
                <a16:creationId xmlns:a16="http://schemas.microsoft.com/office/drawing/2014/main" id="{9162BBEE-0406-8AE8-6310-3ED5A1A0D839}"/>
              </a:ext>
            </a:extLst>
          </p:cNvPr>
          <p:cNvCxnSpPr>
            <a:stCxn id="15" idx="2"/>
            <a:endCxn id="16" idx="0"/>
          </p:cNvCxnSpPr>
          <p:nvPr/>
        </p:nvCxnSpPr>
        <p:spPr>
          <a:xfrm rot="16200000" flipH="1">
            <a:off x="6423168" y="2075655"/>
            <a:ext cx="241809" cy="899319"/>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9" name="Connector: Elbow 38">
            <a:extLst>
              <a:ext uri="{FF2B5EF4-FFF2-40B4-BE49-F238E27FC236}">
                <a16:creationId xmlns:a16="http://schemas.microsoft.com/office/drawing/2014/main" id="{E0E79A37-9388-CAF6-5F69-909079588163}"/>
              </a:ext>
            </a:extLst>
          </p:cNvPr>
          <p:cNvCxnSpPr>
            <a:stCxn id="15" idx="2"/>
            <a:endCxn id="24" idx="0"/>
          </p:cNvCxnSpPr>
          <p:nvPr/>
        </p:nvCxnSpPr>
        <p:spPr>
          <a:xfrm rot="5400000">
            <a:off x="3706400" y="258206"/>
            <a:ext cx="241809" cy="4534218"/>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0" name="Connector: Elbow 2049">
            <a:extLst>
              <a:ext uri="{FF2B5EF4-FFF2-40B4-BE49-F238E27FC236}">
                <a16:creationId xmlns:a16="http://schemas.microsoft.com/office/drawing/2014/main" id="{817DB9B9-C5E7-AD6A-DBD4-7B154FF215DF}"/>
              </a:ext>
            </a:extLst>
          </p:cNvPr>
          <p:cNvCxnSpPr>
            <a:cxnSpLocks/>
            <a:stCxn id="34" idx="1"/>
            <a:endCxn id="38" idx="3"/>
          </p:cNvCxnSpPr>
          <p:nvPr/>
        </p:nvCxnSpPr>
        <p:spPr>
          <a:xfrm rot="10800000">
            <a:off x="4609786" y="4733396"/>
            <a:ext cx="635791" cy="1294805"/>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3" name="Connector: Elbow 2052">
            <a:extLst>
              <a:ext uri="{FF2B5EF4-FFF2-40B4-BE49-F238E27FC236}">
                <a16:creationId xmlns:a16="http://schemas.microsoft.com/office/drawing/2014/main" id="{6441772F-FE0F-25E0-9A66-A6A3D3383D27}"/>
              </a:ext>
            </a:extLst>
          </p:cNvPr>
          <p:cNvCxnSpPr>
            <a:cxnSpLocks/>
            <a:stCxn id="34" idx="1"/>
            <a:endCxn id="37" idx="3"/>
          </p:cNvCxnSpPr>
          <p:nvPr/>
        </p:nvCxnSpPr>
        <p:spPr>
          <a:xfrm rot="10800000">
            <a:off x="4609786" y="5165108"/>
            <a:ext cx="635791" cy="863093"/>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8" name="Connector: Elbow 2057">
            <a:extLst>
              <a:ext uri="{FF2B5EF4-FFF2-40B4-BE49-F238E27FC236}">
                <a16:creationId xmlns:a16="http://schemas.microsoft.com/office/drawing/2014/main" id="{05A14248-A596-13C6-68A2-501562B33968}"/>
              </a:ext>
            </a:extLst>
          </p:cNvPr>
          <p:cNvCxnSpPr>
            <a:cxnSpLocks/>
            <a:stCxn id="34" idx="1"/>
            <a:endCxn id="36" idx="3"/>
          </p:cNvCxnSpPr>
          <p:nvPr/>
        </p:nvCxnSpPr>
        <p:spPr>
          <a:xfrm rot="10800000">
            <a:off x="4609786" y="5596820"/>
            <a:ext cx="635791" cy="431381"/>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64" name="Connector: Elbow 2063">
            <a:extLst>
              <a:ext uri="{FF2B5EF4-FFF2-40B4-BE49-F238E27FC236}">
                <a16:creationId xmlns:a16="http://schemas.microsoft.com/office/drawing/2014/main" id="{9B3B1B17-790E-1B82-6AE9-192A86B756CA}"/>
              </a:ext>
            </a:extLst>
          </p:cNvPr>
          <p:cNvCxnSpPr>
            <a:cxnSpLocks/>
            <a:stCxn id="34" idx="1"/>
            <a:endCxn id="35" idx="3"/>
          </p:cNvCxnSpPr>
          <p:nvPr/>
        </p:nvCxnSpPr>
        <p:spPr>
          <a:xfrm rot="10800000" flipV="1">
            <a:off x="4609786" y="6028199"/>
            <a:ext cx="635791" cy="331"/>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12633837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a:extLst>
              <a:ext uri="{FF2B5EF4-FFF2-40B4-BE49-F238E27FC236}">
                <a16:creationId xmlns:a16="http://schemas.microsoft.com/office/drawing/2014/main" id="{DFCE0E3C-012B-4F30-8D46-589FB7BDFA9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p:blipFill>
        <p:spPr bwMode="auto">
          <a:xfrm flipH="1">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t>6.1</a:t>
            </a:r>
            <a:r>
              <a:rPr lang="lv-LV" sz="4000">
                <a:latin typeface="+mj-lt"/>
              </a:rPr>
              <a:t>.</a:t>
            </a:r>
            <a:r>
              <a:rPr lang="lv-LV" sz="4000"/>
              <a:t> Rīcība dabas katastrofu gadījumā</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4835330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2C7562-6D69-5005-C5F1-C5EA8C88C940}"/>
              </a:ext>
            </a:extLst>
          </p:cNvPr>
          <p:cNvGraphicFramePr>
            <a:graphicFrameLocks noChangeAspect="1"/>
          </p:cNvGraphicFramePr>
          <p:nvPr>
            <p:custDataLst>
              <p:tags r:id="rId1"/>
            </p:custDataLst>
            <p:extLst>
              <p:ext uri="{D42A27DB-BD31-4B8C-83A1-F6EECF244321}">
                <p14:modId xmlns:p14="http://schemas.microsoft.com/office/powerpoint/2010/main" val="2815454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6" name="think-cell data - do not delete" hidden="1">
                        <a:extLst>
                          <a:ext uri="{FF2B5EF4-FFF2-40B4-BE49-F238E27FC236}">
                            <a16:creationId xmlns:a16="http://schemas.microsoft.com/office/drawing/2014/main" id="{062C7562-6D69-5005-C5F1-C5EA8C88C9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DC58C25F-8110-0C29-4A50-5DADA78B621C}"/>
              </a:ext>
            </a:extLst>
          </p:cNvPr>
          <p:cNvSpPr/>
          <p:nvPr/>
        </p:nvSpPr>
        <p:spPr>
          <a:xfrm>
            <a:off x="6275388" y="1819275"/>
            <a:ext cx="48268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fi-FI" sz="1600" b="1"/>
              <a:t>Kā rīkoties, ja esi</a:t>
            </a:r>
            <a:r>
              <a:rPr lang="lv-LV" sz="1600" b="1" err="1"/>
              <a:t>et</a:t>
            </a:r>
            <a:r>
              <a:rPr lang="fi-FI" sz="1600" b="1"/>
              <a:t> nokļuvis meža ugunsgrēkā?</a:t>
            </a:r>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23" name="Google Shape;1016;p85">
            <a:extLst>
              <a:ext uri="{FF2B5EF4-FFF2-40B4-BE49-F238E27FC236}">
                <a16:creationId xmlns:a16="http://schemas.microsoft.com/office/drawing/2014/main" id="{2C5C5110-3897-EA73-7294-681D5C34C589}"/>
              </a:ext>
            </a:extLst>
          </p:cNvPr>
          <p:cNvGrpSpPr/>
          <p:nvPr/>
        </p:nvGrpSpPr>
        <p:grpSpPr>
          <a:xfrm>
            <a:off x="11280725" y="1927275"/>
            <a:ext cx="360363" cy="360363"/>
            <a:chOff x="6609739" y="1462663"/>
            <a:chExt cx="453681" cy="453496"/>
          </a:xfrm>
          <a:solidFill>
            <a:schemeClr val="bg1"/>
          </a:solidFill>
        </p:grpSpPr>
        <p:sp>
          <p:nvSpPr>
            <p:cNvPr id="24" name="Google Shape;1017;p85">
              <a:extLst>
                <a:ext uri="{FF2B5EF4-FFF2-40B4-BE49-F238E27FC236}">
                  <a16:creationId xmlns:a16="http://schemas.microsoft.com/office/drawing/2014/main" id="{471BA042-EC47-EF09-8744-7DDB4FB50433}"/>
                </a:ext>
              </a:extLst>
            </p:cNvPr>
            <p:cNvSpPr/>
            <p:nvPr/>
          </p:nvSpPr>
          <p:spPr>
            <a:xfrm>
              <a:off x="6974499" y="1462663"/>
              <a:ext cx="189" cy="19340"/>
            </a:xfrm>
            <a:custGeom>
              <a:avLst/>
              <a:gdLst/>
              <a:ahLst/>
              <a:cxnLst/>
              <a:rect l="l" t="t" r="r" b="b"/>
              <a:pathLst>
                <a:path w="189" h="19340" extrusionOk="0">
                  <a:moveTo>
                    <a:pt x="0" y="0"/>
                  </a:moveTo>
                  <a:lnTo>
                    <a:pt x="189" y="19341"/>
                  </a:ln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18;p85">
              <a:extLst>
                <a:ext uri="{FF2B5EF4-FFF2-40B4-BE49-F238E27FC236}">
                  <a16:creationId xmlns:a16="http://schemas.microsoft.com/office/drawing/2014/main" id="{7FA0B9BD-34FB-58E2-2ECB-680A9E3F6942}"/>
                </a:ext>
              </a:extLst>
            </p:cNvPr>
            <p:cNvSpPr/>
            <p:nvPr/>
          </p:nvSpPr>
          <p:spPr>
            <a:xfrm>
              <a:off x="6609739" y="1462821"/>
              <a:ext cx="453681" cy="453338"/>
            </a:xfrm>
            <a:custGeom>
              <a:avLst/>
              <a:gdLst/>
              <a:ahLst/>
              <a:cxnLst/>
              <a:rect l="l" t="t" r="r" b="b"/>
              <a:pathLst>
                <a:path w="453681" h="453338" extrusionOk="0">
                  <a:moveTo>
                    <a:pt x="0" y="0"/>
                  </a:moveTo>
                  <a:lnTo>
                    <a:pt x="0" y="453244"/>
                  </a:lnTo>
                  <a:lnTo>
                    <a:pt x="84038" y="453244"/>
                  </a:lnTo>
                  <a:lnTo>
                    <a:pt x="93679" y="453244"/>
                  </a:lnTo>
                  <a:lnTo>
                    <a:pt x="94152" y="387505"/>
                  </a:lnTo>
                  <a:lnTo>
                    <a:pt x="57758" y="388040"/>
                  </a:lnTo>
                  <a:lnTo>
                    <a:pt x="92009" y="316096"/>
                  </a:lnTo>
                  <a:lnTo>
                    <a:pt x="72253" y="316096"/>
                  </a:lnTo>
                  <a:lnTo>
                    <a:pt x="102061" y="258641"/>
                  </a:lnTo>
                  <a:lnTo>
                    <a:pt x="131870" y="316096"/>
                  </a:lnTo>
                  <a:lnTo>
                    <a:pt x="112113" y="316096"/>
                  </a:lnTo>
                  <a:lnTo>
                    <a:pt x="146490" y="388261"/>
                  </a:lnTo>
                  <a:lnTo>
                    <a:pt x="106567" y="388261"/>
                  </a:lnTo>
                  <a:lnTo>
                    <a:pt x="107039" y="453244"/>
                  </a:lnTo>
                  <a:lnTo>
                    <a:pt x="116682" y="453244"/>
                  </a:lnTo>
                  <a:lnTo>
                    <a:pt x="196465" y="453244"/>
                  </a:lnTo>
                  <a:lnTo>
                    <a:pt x="196465" y="453244"/>
                  </a:lnTo>
                  <a:lnTo>
                    <a:pt x="215780" y="453244"/>
                  </a:lnTo>
                  <a:lnTo>
                    <a:pt x="215780" y="249443"/>
                  </a:lnTo>
                  <a:lnTo>
                    <a:pt x="165113" y="249443"/>
                  </a:lnTo>
                  <a:lnTo>
                    <a:pt x="201696" y="185846"/>
                  </a:lnTo>
                  <a:lnTo>
                    <a:pt x="179040" y="185846"/>
                  </a:lnTo>
                  <a:lnTo>
                    <a:pt x="212945" y="127163"/>
                  </a:lnTo>
                  <a:lnTo>
                    <a:pt x="192904" y="127163"/>
                  </a:lnTo>
                  <a:lnTo>
                    <a:pt x="226714" y="74086"/>
                  </a:lnTo>
                  <a:lnTo>
                    <a:pt x="257374" y="127163"/>
                  </a:lnTo>
                  <a:lnTo>
                    <a:pt x="237302" y="127163"/>
                  </a:lnTo>
                  <a:lnTo>
                    <a:pt x="271207" y="185846"/>
                  </a:lnTo>
                  <a:lnTo>
                    <a:pt x="248173" y="185846"/>
                  </a:lnTo>
                  <a:lnTo>
                    <a:pt x="284882" y="249380"/>
                  </a:lnTo>
                  <a:lnTo>
                    <a:pt x="235223" y="249380"/>
                  </a:lnTo>
                  <a:lnTo>
                    <a:pt x="235223" y="433746"/>
                  </a:lnTo>
                  <a:lnTo>
                    <a:pt x="235223" y="433746"/>
                  </a:lnTo>
                  <a:lnTo>
                    <a:pt x="235223" y="450503"/>
                  </a:lnTo>
                  <a:lnTo>
                    <a:pt x="235223" y="450503"/>
                  </a:lnTo>
                  <a:lnTo>
                    <a:pt x="235223" y="453086"/>
                  </a:lnTo>
                  <a:lnTo>
                    <a:pt x="334164" y="453338"/>
                  </a:lnTo>
                  <a:lnTo>
                    <a:pt x="334164" y="453118"/>
                  </a:lnTo>
                  <a:lnTo>
                    <a:pt x="345445" y="453118"/>
                  </a:lnTo>
                  <a:lnTo>
                    <a:pt x="345885" y="390119"/>
                  </a:lnTo>
                  <a:lnTo>
                    <a:pt x="307633" y="390119"/>
                  </a:lnTo>
                  <a:lnTo>
                    <a:pt x="341978" y="317986"/>
                  </a:lnTo>
                  <a:lnTo>
                    <a:pt x="322221" y="317986"/>
                  </a:lnTo>
                  <a:lnTo>
                    <a:pt x="352030" y="260499"/>
                  </a:lnTo>
                  <a:lnTo>
                    <a:pt x="381839" y="317986"/>
                  </a:lnTo>
                  <a:lnTo>
                    <a:pt x="362082" y="317986"/>
                  </a:lnTo>
                  <a:lnTo>
                    <a:pt x="396459" y="390119"/>
                  </a:lnTo>
                  <a:lnTo>
                    <a:pt x="358206" y="390119"/>
                  </a:lnTo>
                  <a:lnTo>
                    <a:pt x="358647" y="453118"/>
                  </a:lnTo>
                  <a:lnTo>
                    <a:pt x="367879" y="453118"/>
                  </a:lnTo>
                  <a:lnTo>
                    <a:pt x="453681" y="453118"/>
                  </a:lnTo>
                  <a:lnTo>
                    <a:pt x="453681" y="0"/>
                  </a:lnTo>
                  <a:close/>
                  <a:moveTo>
                    <a:pt x="434271" y="433903"/>
                  </a:moveTo>
                  <a:lnTo>
                    <a:pt x="377553" y="433903"/>
                  </a:lnTo>
                  <a:lnTo>
                    <a:pt x="377364" y="407286"/>
                  </a:lnTo>
                  <a:lnTo>
                    <a:pt x="426520" y="407286"/>
                  </a:lnTo>
                  <a:lnTo>
                    <a:pt x="392111" y="337043"/>
                  </a:lnTo>
                  <a:lnTo>
                    <a:pt x="413002" y="337043"/>
                  </a:lnTo>
                  <a:lnTo>
                    <a:pt x="352093" y="219645"/>
                  </a:lnTo>
                  <a:lnTo>
                    <a:pt x="291216" y="337043"/>
                  </a:lnTo>
                  <a:lnTo>
                    <a:pt x="312107" y="337043"/>
                  </a:lnTo>
                  <a:lnTo>
                    <a:pt x="277761" y="407412"/>
                  </a:lnTo>
                  <a:lnTo>
                    <a:pt x="326916" y="407412"/>
                  </a:lnTo>
                  <a:lnTo>
                    <a:pt x="326728" y="434187"/>
                  </a:lnTo>
                  <a:lnTo>
                    <a:pt x="257689" y="434187"/>
                  </a:lnTo>
                  <a:lnTo>
                    <a:pt x="257689" y="268815"/>
                  </a:lnTo>
                  <a:lnTo>
                    <a:pt x="318314" y="268815"/>
                  </a:lnTo>
                  <a:lnTo>
                    <a:pt x="281605" y="205281"/>
                  </a:lnTo>
                  <a:lnTo>
                    <a:pt x="304671" y="205281"/>
                  </a:lnTo>
                  <a:lnTo>
                    <a:pt x="270766" y="146598"/>
                  </a:lnTo>
                  <a:lnTo>
                    <a:pt x="290838" y="146598"/>
                  </a:lnTo>
                  <a:lnTo>
                    <a:pt x="226714" y="35626"/>
                  </a:lnTo>
                  <a:lnTo>
                    <a:pt x="159441" y="146598"/>
                  </a:lnTo>
                  <a:lnTo>
                    <a:pt x="179512" y="146598"/>
                  </a:lnTo>
                  <a:lnTo>
                    <a:pt x="145576" y="205281"/>
                  </a:lnTo>
                  <a:lnTo>
                    <a:pt x="168232" y="205281"/>
                  </a:lnTo>
                  <a:lnTo>
                    <a:pt x="131523" y="268815"/>
                  </a:lnTo>
                  <a:lnTo>
                    <a:pt x="193188" y="268815"/>
                  </a:lnTo>
                  <a:lnTo>
                    <a:pt x="192936" y="434155"/>
                  </a:lnTo>
                  <a:lnTo>
                    <a:pt x="125473" y="434155"/>
                  </a:lnTo>
                  <a:lnTo>
                    <a:pt x="125473" y="407192"/>
                  </a:lnTo>
                  <a:lnTo>
                    <a:pt x="176393" y="407192"/>
                  </a:lnTo>
                  <a:lnTo>
                    <a:pt x="142016" y="335058"/>
                  </a:lnTo>
                  <a:lnTo>
                    <a:pt x="162938" y="335058"/>
                  </a:lnTo>
                  <a:lnTo>
                    <a:pt x="102030" y="217629"/>
                  </a:lnTo>
                  <a:lnTo>
                    <a:pt x="41121" y="335058"/>
                  </a:lnTo>
                  <a:lnTo>
                    <a:pt x="62044" y="335058"/>
                  </a:lnTo>
                  <a:lnTo>
                    <a:pt x="27383" y="407192"/>
                  </a:lnTo>
                  <a:lnTo>
                    <a:pt x="74648" y="407192"/>
                  </a:lnTo>
                  <a:lnTo>
                    <a:pt x="74994" y="434092"/>
                  </a:lnTo>
                  <a:lnTo>
                    <a:pt x="19442" y="434092"/>
                  </a:lnTo>
                  <a:lnTo>
                    <a:pt x="19442" y="19183"/>
                  </a:lnTo>
                  <a:lnTo>
                    <a:pt x="434271" y="19183"/>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50" name="Rectangle 49">
            <a:extLst>
              <a:ext uri="{FF2B5EF4-FFF2-40B4-BE49-F238E27FC236}">
                <a16:creationId xmlns:a16="http://schemas.microsoft.com/office/drawing/2014/main" id="{1E384B44-88CC-8F76-E9AF-DBDBDD24EECE}"/>
              </a:ext>
            </a:extLst>
          </p:cNvPr>
          <p:cNvSpPr/>
          <p:nvPr/>
        </p:nvSpPr>
        <p:spPr>
          <a:xfrm>
            <a:off x="442913" y="1819275"/>
            <a:ext cx="482681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Kā rīkoties, kad ir pamanīts kūlas ugunsgrēks?</a:t>
            </a:r>
          </a:p>
        </p:txBody>
      </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5" name="Google Shape;970;p84">
            <a:extLst>
              <a:ext uri="{FF2B5EF4-FFF2-40B4-BE49-F238E27FC236}">
                <a16:creationId xmlns:a16="http://schemas.microsoft.com/office/drawing/2014/main" id="{65061E83-58C9-D2B5-D4C8-CBAF9E3E56CE}"/>
              </a:ext>
            </a:extLst>
          </p:cNvPr>
          <p:cNvGrpSpPr/>
          <p:nvPr/>
        </p:nvGrpSpPr>
        <p:grpSpPr>
          <a:xfrm>
            <a:off x="5448267" y="1927275"/>
            <a:ext cx="360363" cy="360363"/>
            <a:chOff x="8442694" y="1867103"/>
            <a:chExt cx="457200" cy="457200"/>
          </a:xfrm>
          <a:solidFill>
            <a:schemeClr val="bg1"/>
          </a:solidFill>
        </p:grpSpPr>
        <p:sp>
          <p:nvSpPr>
            <p:cNvPr id="9" name="Google Shape;971;p84">
              <a:extLst>
                <a:ext uri="{FF2B5EF4-FFF2-40B4-BE49-F238E27FC236}">
                  <a16:creationId xmlns:a16="http://schemas.microsoft.com/office/drawing/2014/main" id="{AE90E3F2-CCBD-9B87-D668-D7BDD4414C26}"/>
                </a:ext>
              </a:extLst>
            </p:cNvPr>
            <p:cNvSpPr/>
            <p:nvPr/>
          </p:nvSpPr>
          <p:spPr>
            <a:xfrm>
              <a:off x="8442694"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0" name="Google Shape;972;p84">
              <a:extLst>
                <a:ext uri="{FF2B5EF4-FFF2-40B4-BE49-F238E27FC236}">
                  <a16:creationId xmlns:a16="http://schemas.microsoft.com/office/drawing/2014/main" id="{2F9E23BE-A36B-BA2F-7D45-005A3FE049B4}"/>
                </a:ext>
              </a:extLst>
            </p:cNvPr>
            <p:cNvSpPr/>
            <p:nvPr/>
          </p:nvSpPr>
          <p:spPr>
            <a:xfrm>
              <a:off x="8649355" y="1909362"/>
              <a:ext cx="1397" cy="2889"/>
            </a:xfrm>
            <a:custGeom>
              <a:avLst/>
              <a:gdLst/>
              <a:ahLst/>
              <a:cxnLst/>
              <a:rect l="l" t="t" r="r" b="b"/>
              <a:pathLst>
                <a:path w="1397" h="2889" extrusionOk="0">
                  <a:moveTo>
                    <a:pt x="0" y="0"/>
                  </a:moveTo>
                  <a:cubicBezTo>
                    <a:pt x="476" y="921"/>
                    <a:pt x="953" y="1873"/>
                    <a:pt x="1397" y="2889"/>
                  </a:cubicBezTo>
                  <a:lnTo>
                    <a:pt x="1016" y="25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3;p84">
              <a:extLst>
                <a:ext uri="{FF2B5EF4-FFF2-40B4-BE49-F238E27FC236}">
                  <a16:creationId xmlns:a16="http://schemas.microsoft.com/office/drawing/2014/main" id="{A9DFC1DF-B5B1-1C91-8E0E-AF1160BDDF7C}"/>
                </a:ext>
              </a:extLst>
            </p:cNvPr>
            <p:cNvSpPr/>
            <p:nvPr/>
          </p:nvSpPr>
          <p:spPr>
            <a:xfrm>
              <a:off x="8558905" y="1909647"/>
              <a:ext cx="207684" cy="374777"/>
            </a:xfrm>
            <a:custGeom>
              <a:avLst/>
              <a:gdLst/>
              <a:ahLst/>
              <a:cxnLst/>
              <a:rect l="l" t="t" r="r" b="b"/>
              <a:pathLst>
                <a:path w="207684" h="374777" extrusionOk="0">
                  <a:moveTo>
                    <a:pt x="69939" y="362934"/>
                  </a:moveTo>
                  <a:lnTo>
                    <a:pt x="67557" y="334359"/>
                  </a:lnTo>
                  <a:cubicBezTo>
                    <a:pt x="63049" y="280384"/>
                    <a:pt x="84067" y="255746"/>
                    <a:pt x="104355" y="231839"/>
                  </a:cubicBezTo>
                  <a:cubicBezTo>
                    <a:pt x="112500" y="222828"/>
                    <a:pt x="119791" y="213081"/>
                    <a:pt x="126136" y="202724"/>
                  </a:cubicBezTo>
                  <a:cubicBezTo>
                    <a:pt x="137832" y="231495"/>
                    <a:pt x="138701" y="263531"/>
                    <a:pt x="128581" y="292894"/>
                  </a:cubicBezTo>
                  <a:cubicBezTo>
                    <a:pt x="128390" y="293624"/>
                    <a:pt x="128232" y="294386"/>
                    <a:pt x="128009" y="295180"/>
                  </a:cubicBezTo>
                  <a:cubicBezTo>
                    <a:pt x="114706" y="344805"/>
                    <a:pt x="95307" y="365824"/>
                    <a:pt x="85687" y="374555"/>
                  </a:cubicBezTo>
                  <a:lnTo>
                    <a:pt x="85433" y="374777"/>
                  </a:lnTo>
                  <a:lnTo>
                    <a:pt x="110483" y="362331"/>
                  </a:lnTo>
                  <a:cubicBezTo>
                    <a:pt x="168840" y="333248"/>
                    <a:pt x="201257" y="289560"/>
                    <a:pt x="206845" y="232410"/>
                  </a:cubicBezTo>
                  <a:cubicBezTo>
                    <a:pt x="215830" y="140335"/>
                    <a:pt x="150615" y="40577"/>
                    <a:pt x="111595" y="10509"/>
                  </a:cubicBezTo>
                  <a:lnTo>
                    <a:pt x="109182" y="8636"/>
                  </a:lnTo>
                  <a:cubicBezTo>
                    <a:pt x="103771" y="4818"/>
                    <a:pt x="97777" y="1901"/>
                    <a:pt x="91433" y="0"/>
                  </a:cubicBezTo>
                  <a:lnTo>
                    <a:pt x="91814" y="2635"/>
                  </a:lnTo>
                  <a:cubicBezTo>
                    <a:pt x="94844" y="9737"/>
                    <a:pt x="96357" y="17394"/>
                    <a:pt x="96259" y="25114"/>
                  </a:cubicBezTo>
                  <a:cubicBezTo>
                    <a:pt x="96320" y="31735"/>
                    <a:pt x="95246" y="38318"/>
                    <a:pt x="93084" y="44577"/>
                  </a:cubicBezTo>
                  <a:cubicBezTo>
                    <a:pt x="87337" y="67469"/>
                    <a:pt x="70859" y="91821"/>
                    <a:pt x="53365" y="117158"/>
                  </a:cubicBezTo>
                  <a:cubicBezTo>
                    <a:pt x="11582" y="178213"/>
                    <a:pt x="-40393" y="254191"/>
                    <a:pt x="49555" y="342805"/>
                  </a:cubicBezTo>
                  <a:close/>
                  <a:moveTo>
                    <a:pt x="70859" y="129159"/>
                  </a:moveTo>
                  <a:cubicBezTo>
                    <a:pt x="90925" y="99854"/>
                    <a:pt x="110134" y="71755"/>
                    <a:pt x="115182" y="43180"/>
                  </a:cubicBezTo>
                  <a:cubicBezTo>
                    <a:pt x="149504" y="81280"/>
                    <a:pt x="192557" y="159480"/>
                    <a:pt x="185699" y="230315"/>
                  </a:cubicBezTo>
                  <a:cubicBezTo>
                    <a:pt x="182808" y="263658"/>
                    <a:pt x="166992" y="294548"/>
                    <a:pt x="141630" y="316389"/>
                  </a:cubicBezTo>
                  <a:cubicBezTo>
                    <a:pt x="157505" y="281464"/>
                    <a:pt x="168173" y="229330"/>
                    <a:pt x="134455" y="171196"/>
                  </a:cubicBezTo>
                  <a:lnTo>
                    <a:pt x="123882" y="152972"/>
                  </a:lnTo>
                  <a:cubicBezTo>
                    <a:pt x="123014" y="158620"/>
                    <a:pt x="121600" y="164170"/>
                    <a:pt x="119659" y="169545"/>
                  </a:cubicBezTo>
                  <a:cubicBezTo>
                    <a:pt x="116941" y="177392"/>
                    <a:pt x="113044" y="184779"/>
                    <a:pt x="108102" y="191452"/>
                  </a:cubicBezTo>
                  <a:cubicBezTo>
                    <a:pt x="102326" y="200924"/>
                    <a:pt x="95660" y="209822"/>
                    <a:pt x="88195" y="218027"/>
                  </a:cubicBezTo>
                  <a:cubicBezTo>
                    <a:pt x="70732" y="238570"/>
                    <a:pt x="49714" y="263335"/>
                    <a:pt x="46221" y="307245"/>
                  </a:cubicBezTo>
                  <a:cubicBezTo>
                    <a:pt x="-5436" y="240665"/>
                    <a:pt x="31743" y="186341"/>
                    <a:pt x="70859" y="12915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52" name="Rectangle 51">
            <a:extLst>
              <a:ext uri="{FF2B5EF4-FFF2-40B4-BE49-F238E27FC236}">
                <a16:creationId xmlns:a16="http://schemas.microsoft.com/office/drawing/2014/main" id="{54140961-D367-FFB1-E0FC-3F385487D472}"/>
              </a:ext>
            </a:extLst>
          </p:cNvPr>
          <p:cNvSpPr/>
          <p:nvPr/>
        </p:nvSpPr>
        <p:spPr>
          <a:xfrm>
            <a:off x="1107653" y="2539188"/>
            <a:ext cx="4808960"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Nekavējoties zvaniet </a:t>
            </a:r>
            <a:r>
              <a:rPr lang="lv-LV" sz="1200" b="1" i="0">
                <a:solidFill>
                  <a:srgbClr val="A8192D"/>
                </a:solidFill>
                <a:effectLst/>
              </a:rPr>
              <a:t>112 </a:t>
            </a:r>
            <a:r>
              <a:rPr lang="lv-LV" sz="1200" b="0" i="0">
                <a:solidFill>
                  <a:schemeClr val="tx1"/>
                </a:solidFill>
                <a:effectLst/>
              </a:rPr>
              <a:t>un pēc iespējas precīzāk aprakstiet vietu, kur izcēlies ugunsgrēks.</a:t>
            </a:r>
          </a:p>
        </p:txBody>
      </p:sp>
      <p:grpSp>
        <p:nvGrpSpPr>
          <p:cNvPr id="3" name="Group 2">
            <a:extLst>
              <a:ext uri="{FF2B5EF4-FFF2-40B4-BE49-F238E27FC236}">
                <a16:creationId xmlns:a16="http://schemas.microsoft.com/office/drawing/2014/main" id="{2D6035EB-21B7-A2AC-BF5F-3D0849CC3AE3}"/>
              </a:ext>
            </a:extLst>
          </p:cNvPr>
          <p:cNvGrpSpPr/>
          <p:nvPr/>
        </p:nvGrpSpPr>
        <p:grpSpPr>
          <a:xfrm>
            <a:off x="442913" y="2538660"/>
            <a:ext cx="576263" cy="612000"/>
            <a:chOff x="442913" y="2538660"/>
            <a:chExt cx="576263" cy="612000"/>
          </a:xfrm>
        </p:grpSpPr>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err="1"/>
              <a:t>Meža</a:t>
            </a:r>
            <a:r>
              <a:rPr lang="en-GB"/>
              <a:t> un </a:t>
            </a:r>
            <a:r>
              <a:rPr lang="en-GB" err="1"/>
              <a:t>kūdras</a:t>
            </a:r>
            <a:r>
              <a:rPr lang="en-GB"/>
              <a:t> </a:t>
            </a:r>
            <a:r>
              <a:rPr lang="en-GB" err="1"/>
              <a:t>purvu</a:t>
            </a:r>
            <a:r>
              <a:rPr lang="en-GB"/>
              <a:t> </a:t>
            </a:r>
            <a:r>
              <a:rPr lang="en-GB" err="1"/>
              <a:t>ugunsgrēki</a:t>
            </a:r>
            <a:br>
              <a:rPr lang="lv-LV"/>
            </a:br>
            <a:r>
              <a:rPr lang="lv-LV">
                <a:solidFill>
                  <a:srgbClr val="A8192D"/>
                </a:solidFill>
              </a:rPr>
              <a:t>Kā rīkoties?</a:t>
            </a:r>
            <a:endParaRPr lang="en-GB">
              <a:solidFill>
                <a:srgbClr val="A8192D"/>
              </a:solidFill>
            </a:endParaRP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6940550" y="3462045"/>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88D7CFA4-9630-9E6E-9558-B995D1763B49}"/>
              </a:ext>
            </a:extLst>
          </p:cNvPr>
          <p:cNvCxnSpPr>
            <a:cxnSpLocks/>
          </p:cNvCxnSpPr>
          <p:nvPr/>
        </p:nvCxnSpPr>
        <p:spPr>
          <a:xfrm>
            <a:off x="6940550" y="4497097"/>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4" name="Rectangle 63">
            <a:extLst>
              <a:ext uri="{FF2B5EF4-FFF2-40B4-BE49-F238E27FC236}">
                <a16:creationId xmlns:a16="http://schemas.microsoft.com/office/drawing/2014/main" id="{C8839363-023E-6108-2610-F9869562BA65}"/>
              </a:ext>
            </a:extLst>
          </p:cNvPr>
          <p:cNvSpPr/>
          <p:nvPr/>
        </p:nvSpPr>
        <p:spPr>
          <a:xfrm>
            <a:off x="6940550" y="2538413"/>
            <a:ext cx="4808538" cy="81221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meža ugunsgrēks izcēlies ugunskura kurināšanas rezultātā, uzreiz mēģiniet to nodzēst, sitot liesmas ar zariem, segu vai kādu citu pieejamu priekšmetu. </a:t>
            </a:r>
            <a:br>
              <a:rPr lang="en-US" sz="1200" b="0" i="0">
                <a:solidFill>
                  <a:srgbClr val="212529"/>
                </a:solidFill>
                <a:effectLst/>
              </a:rPr>
            </a:br>
            <a:r>
              <a:rPr lang="lv-LV" sz="1200" b="1" i="0">
                <a:solidFill>
                  <a:srgbClr val="A8192D"/>
                </a:solidFill>
                <a:effectLst/>
              </a:rPr>
              <a:t>Atcerieties! </a:t>
            </a:r>
            <a:r>
              <a:rPr lang="lv-LV" sz="1200" b="0" i="0" spc="-30">
                <a:solidFill>
                  <a:srgbClr val="212529"/>
                </a:solidFill>
                <a:effectLst/>
              </a:rPr>
              <a:t>Uguns jādzēš slīpiem sitieniem izdegušā laukuma virzienā.</a:t>
            </a:r>
          </a:p>
        </p:txBody>
      </p:sp>
      <p:sp>
        <p:nvSpPr>
          <p:cNvPr id="91" name="Rectangle 90">
            <a:extLst>
              <a:ext uri="{FF2B5EF4-FFF2-40B4-BE49-F238E27FC236}">
                <a16:creationId xmlns:a16="http://schemas.microsoft.com/office/drawing/2014/main" id="{923ED525-0203-6BC5-F3E8-8ABB7C0A1DD9}"/>
              </a:ext>
            </a:extLst>
          </p:cNvPr>
          <p:cNvSpPr/>
          <p:nvPr/>
        </p:nvSpPr>
        <p:spPr>
          <a:xfrm>
            <a:off x="6275388" y="2538670"/>
            <a:ext cx="576263" cy="81169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2" name="L-Shape 91">
            <a:extLst>
              <a:ext uri="{FF2B5EF4-FFF2-40B4-BE49-F238E27FC236}">
                <a16:creationId xmlns:a16="http://schemas.microsoft.com/office/drawing/2014/main" id="{97672140-6C3A-9556-1AB0-06A807124770}"/>
              </a:ext>
            </a:extLst>
          </p:cNvPr>
          <p:cNvSpPr/>
          <p:nvPr/>
        </p:nvSpPr>
        <p:spPr>
          <a:xfrm rot="13500000">
            <a:off x="6391782" y="2808131"/>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5" name="Rectangle 64">
            <a:extLst>
              <a:ext uri="{FF2B5EF4-FFF2-40B4-BE49-F238E27FC236}">
                <a16:creationId xmlns:a16="http://schemas.microsoft.com/office/drawing/2014/main" id="{6C9963BA-CB30-1A9A-495C-AC7D92B42F6A}"/>
              </a:ext>
            </a:extLst>
          </p:cNvPr>
          <p:cNvSpPr/>
          <p:nvPr/>
        </p:nvSpPr>
        <p:spPr>
          <a:xfrm>
            <a:off x="6940550" y="3575917"/>
            <a:ext cx="4808538" cy="80976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Ja uguni nodzēst nav iespējams, nekavējoties brīdiniet pārējos un dodieties prom no ugunsgrēka vietas uz ceļu, meža stigu, lauku vai ūdenskrātuves krastu.</a:t>
            </a:r>
          </a:p>
        </p:txBody>
      </p:sp>
      <p:sp>
        <p:nvSpPr>
          <p:cNvPr id="93" name="Rectangle 92">
            <a:extLst>
              <a:ext uri="{FF2B5EF4-FFF2-40B4-BE49-F238E27FC236}">
                <a16:creationId xmlns:a16="http://schemas.microsoft.com/office/drawing/2014/main" id="{D0E0A4D4-73EA-CBEB-4379-F0B1FF036634}"/>
              </a:ext>
            </a:extLst>
          </p:cNvPr>
          <p:cNvSpPr/>
          <p:nvPr/>
        </p:nvSpPr>
        <p:spPr>
          <a:xfrm>
            <a:off x="6275388" y="3576429"/>
            <a:ext cx="576263" cy="8087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4" name="L-Shape 93">
            <a:extLst>
              <a:ext uri="{FF2B5EF4-FFF2-40B4-BE49-F238E27FC236}">
                <a16:creationId xmlns:a16="http://schemas.microsoft.com/office/drawing/2014/main" id="{1B45DCE4-892C-EC8B-4496-9FC8EDE7A80C}"/>
              </a:ext>
            </a:extLst>
          </p:cNvPr>
          <p:cNvSpPr/>
          <p:nvPr/>
        </p:nvSpPr>
        <p:spPr>
          <a:xfrm rot="13500000">
            <a:off x="6391782" y="3844409"/>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6" name="Rectangle 65">
            <a:extLst>
              <a:ext uri="{FF2B5EF4-FFF2-40B4-BE49-F238E27FC236}">
                <a16:creationId xmlns:a16="http://schemas.microsoft.com/office/drawing/2014/main" id="{F013B6EF-6664-55FA-8A95-9B25B931D676}"/>
              </a:ext>
            </a:extLst>
          </p:cNvPr>
          <p:cNvSpPr/>
          <p:nvPr/>
        </p:nvSpPr>
        <p:spPr>
          <a:xfrm>
            <a:off x="6940550" y="4610969"/>
            <a:ext cx="4808538" cy="84400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spc="-30">
                <a:solidFill>
                  <a:srgbClr val="212529"/>
                </a:solidFill>
                <a:effectLst/>
              </a:rPr>
              <a:t>Virzieties perpendikulāri uguns izplatīšanās virzienam. Ja aiziet no uguns nav iespējams, iegremdējieties ūdenī vai apsedzieties ar samitrinātām drēbēm. Ja esiet meža laukumiņā, noliecieties tuvāk zemei. </a:t>
            </a:r>
            <a:endParaRPr lang="en-US" sz="1200" b="0" i="0" spc="-30">
              <a:solidFill>
                <a:srgbClr val="212529"/>
              </a:solidFill>
              <a:effectLst/>
            </a:endParaRPr>
          </a:p>
          <a:p>
            <a:pPr algn="l"/>
            <a:r>
              <a:rPr lang="lv-LV" sz="1200" b="1" i="0">
                <a:solidFill>
                  <a:srgbClr val="A8192D"/>
                </a:solidFill>
                <a:effectLst/>
              </a:rPr>
              <a:t>Atcerieties! </a:t>
            </a:r>
            <a:r>
              <a:rPr lang="lv-LV" sz="1200" b="0" i="0">
                <a:solidFill>
                  <a:srgbClr val="212529"/>
                </a:solidFill>
                <a:effectLst/>
              </a:rPr>
              <a:t>Gaiss pie zemes ir mazāk sadūmots.</a:t>
            </a:r>
          </a:p>
        </p:txBody>
      </p:sp>
      <p:sp>
        <p:nvSpPr>
          <p:cNvPr id="95" name="Rectangle 94">
            <a:extLst>
              <a:ext uri="{FF2B5EF4-FFF2-40B4-BE49-F238E27FC236}">
                <a16:creationId xmlns:a16="http://schemas.microsoft.com/office/drawing/2014/main" id="{443FAA3C-0F7C-AD6B-CBF1-68825DEE28EF}"/>
              </a:ext>
            </a:extLst>
          </p:cNvPr>
          <p:cNvSpPr/>
          <p:nvPr/>
        </p:nvSpPr>
        <p:spPr>
          <a:xfrm>
            <a:off x="6275388" y="4611502"/>
            <a:ext cx="576263" cy="8429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6391782" y="489658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a:t>
            </a:fld>
            <a:endParaRPr lang="en-GB"/>
          </a:p>
        </p:txBody>
      </p:sp>
      <p:cxnSp>
        <p:nvCxnSpPr>
          <p:cNvPr id="12" name="Straight Connector 11">
            <a:extLst>
              <a:ext uri="{FF2B5EF4-FFF2-40B4-BE49-F238E27FC236}">
                <a16:creationId xmlns:a16="http://schemas.microsoft.com/office/drawing/2014/main" id="{115247EA-EE3B-31EE-8D48-4898D35A3280}"/>
              </a:ext>
            </a:extLst>
          </p:cNvPr>
          <p:cNvCxnSpPr>
            <a:cxnSpLocks/>
          </p:cNvCxnSpPr>
          <p:nvPr/>
        </p:nvCxnSpPr>
        <p:spPr>
          <a:xfrm>
            <a:off x="6940550" y="5566391"/>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69CFE8AA-8BE2-A62E-A1B9-8B4AE9C53218}"/>
              </a:ext>
            </a:extLst>
          </p:cNvPr>
          <p:cNvSpPr/>
          <p:nvPr/>
        </p:nvSpPr>
        <p:spPr>
          <a:xfrm>
            <a:off x="6940550" y="5680261"/>
            <a:ext cx="4808538" cy="49822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chemeClr val="tx1"/>
                </a:solidFill>
                <a:effectLst/>
              </a:rPr>
              <a:t>Izejot laukā no ugunsgrēka vietas, paziņojiet par to, zvanot </a:t>
            </a:r>
            <a:r>
              <a:rPr lang="lv-LV" sz="1200" b="1" i="0">
                <a:solidFill>
                  <a:srgbClr val="A8192D"/>
                </a:solidFill>
                <a:effectLst/>
              </a:rPr>
              <a:t>112</a:t>
            </a:r>
            <a:r>
              <a:rPr lang="lv-LV" sz="1200" b="0" i="0">
                <a:solidFill>
                  <a:schemeClr val="tx1"/>
                </a:solidFill>
                <a:effectLst/>
              </a:rPr>
              <a:t>. </a:t>
            </a:r>
            <a:endParaRPr lang="lv-LV" sz="1200" b="0" i="0" strike="sngStrike">
              <a:solidFill>
                <a:schemeClr val="tx1"/>
              </a:solidFill>
              <a:effectLst/>
              <a:cs typeface="Arial"/>
            </a:endParaRPr>
          </a:p>
        </p:txBody>
      </p:sp>
      <p:sp>
        <p:nvSpPr>
          <p:cNvPr id="18" name="Rectangle 17">
            <a:extLst>
              <a:ext uri="{FF2B5EF4-FFF2-40B4-BE49-F238E27FC236}">
                <a16:creationId xmlns:a16="http://schemas.microsoft.com/office/drawing/2014/main" id="{B8EA7805-296B-5D47-944C-D538156BAD89}"/>
              </a:ext>
            </a:extLst>
          </p:cNvPr>
          <p:cNvSpPr/>
          <p:nvPr/>
        </p:nvSpPr>
        <p:spPr>
          <a:xfrm>
            <a:off x="6275810" y="5679930"/>
            <a:ext cx="576263" cy="49888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L-Shape 18">
            <a:extLst>
              <a:ext uri="{FF2B5EF4-FFF2-40B4-BE49-F238E27FC236}">
                <a16:creationId xmlns:a16="http://schemas.microsoft.com/office/drawing/2014/main" id="{C0C5A184-30D0-DA46-BFBE-D02A00834DD6}"/>
              </a:ext>
            </a:extLst>
          </p:cNvPr>
          <p:cNvSpPr/>
          <p:nvPr/>
        </p:nvSpPr>
        <p:spPr>
          <a:xfrm rot="13500000">
            <a:off x="6392204" y="5792983"/>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32" name="Picture 31">
            <a:extLst>
              <a:ext uri="{FF2B5EF4-FFF2-40B4-BE49-F238E27FC236}">
                <a16:creationId xmlns:a16="http://schemas.microsoft.com/office/drawing/2014/main" id="{81625016-7AFB-525A-A0DD-13D080F9F7C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 b="228"/>
          <a:stretch/>
        </p:blipFill>
        <p:spPr>
          <a:xfrm>
            <a:off x="442912" y="3293937"/>
            <a:ext cx="5473701" cy="2878263"/>
          </a:xfrm>
          <a:prstGeom prst="rect">
            <a:avLst/>
          </a:prstGeom>
        </p:spPr>
      </p:pic>
      <p:grpSp>
        <p:nvGrpSpPr>
          <p:cNvPr id="13" name="Group 12">
            <a:extLst>
              <a:ext uri="{FF2B5EF4-FFF2-40B4-BE49-F238E27FC236}">
                <a16:creationId xmlns:a16="http://schemas.microsoft.com/office/drawing/2014/main" id="{88BF8F6F-AF88-7FD6-74A5-D4B1A5D4210B}"/>
              </a:ext>
            </a:extLst>
          </p:cNvPr>
          <p:cNvGrpSpPr/>
          <p:nvPr/>
        </p:nvGrpSpPr>
        <p:grpSpPr>
          <a:xfrm>
            <a:off x="9190780" y="159786"/>
            <a:ext cx="2558308" cy="217488"/>
            <a:chOff x="9190780" y="159786"/>
            <a:chExt cx="2558308" cy="217488"/>
          </a:xfrm>
        </p:grpSpPr>
        <p:sp>
          <p:nvSpPr>
            <p:cNvPr id="15" name="Rectangle 14">
              <a:extLst>
                <a:ext uri="{FF2B5EF4-FFF2-40B4-BE49-F238E27FC236}">
                  <a16:creationId xmlns:a16="http://schemas.microsoft.com/office/drawing/2014/main" id="{3DB07ECB-CF88-9CF5-3F3F-8BFA0F5EBA51}"/>
                </a:ext>
              </a:extLst>
            </p:cNvPr>
            <p:cNvSpPr/>
            <p:nvPr/>
          </p:nvSpPr>
          <p:spPr>
            <a:xfrm>
              <a:off x="9432606" y="159786"/>
              <a:ext cx="1833251"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FBE3513D-DAE5-8B8D-416D-728D3477DE0F}"/>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C4C9103F-975F-E045-29CF-CA97A49DBC9A}"/>
                </a:ext>
              </a:extLst>
            </p:cNvPr>
            <p:cNvSpPr/>
            <p:nvPr/>
          </p:nvSpPr>
          <p:spPr>
            <a:xfrm>
              <a:off x="919078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825BB34B-8D03-E672-5802-CB5DAC2E7182}"/>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5280348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Kā rīkoties plūdu gadījumā? - YouTube">
            <a:hlinkClick r:id="rId3"/>
            <a:extLst>
              <a:ext uri="{FF2B5EF4-FFF2-40B4-BE49-F238E27FC236}">
                <a16:creationId xmlns:a16="http://schemas.microsoft.com/office/drawing/2014/main" id="{9C26B131-EE4A-A72C-3B74-EFE7FFE2982E}"/>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442912" y="2265968"/>
            <a:ext cx="5473701" cy="3303939"/>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6B892B62-9FE6-7195-9659-F4BD38D35FD4}"/>
              </a:ext>
            </a:extLst>
          </p:cNvPr>
          <p:cNvSpPr/>
          <p:nvPr/>
        </p:nvSpPr>
        <p:spPr>
          <a:xfrm>
            <a:off x="6275388" y="2263775"/>
            <a:ext cx="5473700" cy="3908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endParaRPr lang="en-GB" sz="1400" b="1">
              <a:solidFill>
                <a:srgbClr val="C00000"/>
              </a:solidFil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en-GB"/>
              <a:t>Pali</a:t>
            </a:r>
            <a:r>
              <a:rPr lang="lv-LV"/>
              <a:t>, </a:t>
            </a:r>
            <a:r>
              <a:rPr lang="en-GB" err="1"/>
              <a:t>plūdi</a:t>
            </a:r>
            <a:r>
              <a:rPr lang="lv-LV"/>
              <a:t> un </a:t>
            </a:r>
            <a:r>
              <a:rPr lang="lv-LV" err="1"/>
              <a:t>vējuzplūdi</a:t>
            </a:r>
            <a:r>
              <a:rPr lang="lv-LV"/>
              <a:t> </a:t>
            </a:r>
            <a:br>
              <a:rPr lang="lv-LV"/>
            </a:br>
            <a:r>
              <a:rPr lang="lv-LV">
                <a:solidFill>
                  <a:srgbClr val="A8192D"/>
                </a:solidFill>
              </a:rPr>
              <a:t>Kā rīkoti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a:t>
            </a:fld>
            <a:endParaRPr lang="en-GB"/>
          </a:p>
        </p:txBody>
      </p:sp>
      <p:pic>
        <p:nvPicPr>
          <p:cNvPr id="12" name="Picture 11">
            <a:extLst>
              <a:ext uri="{FF2B5EF4-FFF2-40B4-BE49-F238E27FC236}">
                <a16:creationId xmlns:a16="http://schemas.microsoft.com/office/drawing/2014/main" id="{21F004BB-7F35-6516-5407-F9648253E39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40155" y="2355087"/>
            <a:ext cx="2144166" cy="3089243"/>
          </a:xfrm>
          <a:prstGeom prst="rect">
            <a:avLst/>
          </a:prstGeom>
          <a:ln>
            <a:solidFill>
              <a:schemeClr val="bg1">
                <a:lumMod val="65000"/>
              </a:schemeClr>
            </a:solidFill>
          </a:ln>
        </p:spPr>
      </p:pic>
      <p:sp>
        <p:nvSpPr>
          <p:cNvPr id="11" name="Rectangle 10">
            <a:extLst>
              <a:ext uri="{FF2B5EF4-FFF2-40B4-BE49-F238E27FC236}">
                <a16:creationId xmlns:a16="http://schemas.microsoft.com/office/drawing/2014/main" id="{59872D60-53BD-9E28-C32A-589EC492D6A2}"/>
              </a:ext>
            </a:extLst>
          </p:cNvPr>
          <p:cNvSpPr/>
          <p:nvPr/>
        </p:nvSpPr>
        <p:spPr>
          <a:xfrm>
            <a:off x="442913" y="1818146"/>
            <a:ext cx="11306175" cy="21544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chorCtr="0">
            <a:spAutoFit/>
          </a:bodyPr>
          <a:lstStyle/>
          <a:p>
            <a:r>
              <a:rPr lang="lv-LV" sz="1400" b="1">
                <a:solidFill>
                  <a:schemeClr val="tx1"/>
                </a:solidFill>
                <a:latin typeface="Arial" panose="020B0604020202020204" pitchFamily="34" charset="0"/>
              </a:rPr>
              <a:t>Iepazīstieties ar Valsts ugunsdzēsības un glābšanas dienesta (VUGD) sagatavotajiem materiāliem:</a:t>
            </a:r>
            <a:endParaRPr lang="en-GB" sz="1400" b="1">
              <a:solidFill>
                <a:schemeClr val="tx1"/>
              </a:solidFill>
            </a:endParaRPr>
          </a:p>
        </p:txBody>
      </p:sp>
      <p:sp>
        <p:nvSpPr>
          <p:cNvPr id="22" name="TextBox 21">
            <a:extLst>
              <a:ext uri="{FF2B5EF4-FFF2-40B4-BE49-F238E27FC236}">
                <a16:creationId xmlns:a16="http://schemas.microsoft.com/office/drawing/2014/main" id="{81B98161-1410-B404-B256-A00C5427B84B}"/>
              </a:ext>
            </a:extLst>
          </p:cNvPr>
          <p:cNvSpPr txBox="1"/>
          <p:nvPr/>
        </p:nvSpPr>
        <p:spPr>
          <a:xfrm>
            <a:off x="968513" y="5559423"/>
            <a:ext cx="4948100" cy="612775"/>
          </a:xfrm>
          <a:prstGeom prst="rect">
            <a:avLst/>
          </a:prstGeom>
          <a:solidFill>
            <a:srgbClr val="6F8087"/>
          </a:solidFill>
        </p:spPr>
        <p:txBody>
          <a:bodyPr wrap="square" lIns="72000" tIns="72000" rIns="72000" bIns="72000" rtlCol="0" anchor="ctr" anchorCtr="0">
            <a:noAutofit/>
          </a:bodyPr>
          <a:lstStyle/>
          <a:p>
            <a:pPr>
              <a:lnSpc>
                <a:spcPct val="100000"/>
              </a:lnSpc>
              <a:spcAft>
                <a:spcPts val="600"/>
              </a:spcAft>
              <a:buSzPct val="100000"/>
            </a:pPr>
            <a:r>
              <a:rPr lang="en-US" sz="1400" b="1">
                <a:solidFill>
                  <a:schemeClr val="bg1"/>
                </a:solidFill>
                <a:hlinkClick r:id="rId3">
                  <a:extLst>
                    <a:ext uri="{A12FA001-AC4F-418D-AE19-62706E023703}">
                      <ahyp:hlinkClr xmlns:ahyp="http://schemas.microsoft.com/office/drawing/2018/hyperlinkcolor" val="tx"/>
                    </a:ext>
                  </a:extLst>
                </a:hlinkClick>
              </a:rPr>
              <a:t>Video «</a:t>
            </a:r>
            <a:r>
              <a:rPr lang="en-US" sz="1400" b="1" err="1">
                <a:solidFill>
                  <a:schemeClr val="bg1"/>
                </a:solidFill>
                <a:hlinkClick r:id="rId3">
                  <a:extLst>
                    <a:ext uri="{A12FA001-AC4F-418D-AE19-62706E023703}">
                      <ahyp:hlinkClr xmlns:ahyp="http://schemas.microsoft.com/office/drawing/2018/hyperlinkcolor" val="tx"/>
                    </a:ext>
                  </a:extLst>
                </a:hlinkClick>
              </a:rPr>
              <a:t>Kā</a:t>
            </a:r>
            <a:r>
              <a:rPr lang="en-US" sz="1400" b="1">
                <a:solidFill>
                  <a:schemeClr val="bg1"/>
                </a:solidFill>
                <a:hlinkClick r:id="rId3">
                  <a:extLst>
                    <a:ext uri="{A12FA001-AC4F-418D-AE19-62706E023703}">
                      <ahyp:hlinkClr xmlns:ahyp="http://schemas.microsoft.com/office/drawing/2018/hyperlinkcolor" val="tx"/>
                    </a:ext>
                  </a:extLst>
                </a:hlinkClick>
              </a:rPr>
              <a:t> </a:t>
            </a:r>
            <a:r>
              <a:rPr lang="en-US" sz="1400" b="1" err="1">
                <a:solidFill>
                  <a:schemeClr val="bg1"/>
                </a:solidFill>
                <a:hlinkClick r:id="rId3">
                  <a:extLst>
                    <a:ext uri="{A12FA001-AC4F-418D-AE19-62706E023703}">
                      <ahyp:hlinkClr xmlns:ahyp="http://schemas.microsoft.com/office/drawing/2018/hyperlinkcolor" val="tx"/>
                    </a:ext>
                  </a:extLst>
                </a:hlinkClick>
              </a:rPr>
              <a:t>rīkoties</a:t>
            </a:r>
            <a:r>
              <a:rPr lang="en-US" sz="1400" b="1">
                <a:solidFill>
                  <a:schemeClr val="bg1"/>
                </a:solidFill>
                <a:hlinkClick r:id="rId3">
                  <a:extLst>
                    <a:ext uri="{A12FA001-AC4F-418D-AE19-62706E023703}">
                      <ahyp:hlinkClr xmlns:ahyp="http://schemas.microsoft.com/office/drawing/2018/hyperlinkcolor" val="tx"/>
                    </a:ext>
                  </a:extLst>
                </a:hlinkClick>
              </a:rPr>
              <a:t> </a:t>
            </a:r>
            <a:r>
              <a:rPr lang="en-US" sz="1400" b="1" err="1">
                <a:solidFill>
                  <a:schemeClr val="bg1"/>
                </a:solidFill>
                <a:hlinkClick r:id="rId3">
                  <a:extLst>
                    <a:ext uri="{A12FA001-AC4F-418D-AE19-62706E023703}">
                      <ahyp:hlinkClr xmlns:ahyp="http://schemas.microsoft.com/office/drawing/2018/hyperlinkcolor" val="tx"/>
                    </a:ext>
                  </a:extLst>
                </a:hlinkClick>
              </a:rPr>
              <a:t>plūdu</a:t>
            </a:r>
            <a:r>
              <a:rPr lang="en-US" sz="1400" b="1">
                <a:solidFill>
                  <a:schemeClr val="bg1"/>
                </a:solidFill>
                <a:hlinkClick r:id="rId3">
                  <a:extLst>
                    <a:ext uri="{A12FA001-AC4F-418D-AE19-62706E023703}">
                      <ahyp:hlinkClr xmlns:ahyp="http://schemas.microsoft.com/office/drawing/2018/hyperlinkcolor" val="tx"/>
                    </a:ext>
                  </a:extLst>
                </a:hlinkClick>
              </a:rPr>
              <a:t> </a:t>
            </a:r>
            <a:r>
              <a:rPr lang="en-US" sz="1400" b="1" err="1">
                <a:solidFill>
                  <a:schemeClr val="bg1"/>
                </a:solidFill>
                <a:hlinkClick r:id="rId3">
                  <a:extLst>
                    <a:ext uri="{A12FA001-AC4F-418D-AE19-62706E023703}">
                      <ahyp:hlinkClr xmlns:ahyp="http://schemas.microsoft.com/office/drawing/2018/hyperlinkcolor" val="tx"/>
                    </a:ext>
                  </a:extLst>
                </a:hlinkClick>
              </a:rPr>
              <a:t>gadījumā</a:t>
            </a:r>
            <a:r>
              <a:rPr lang="en-US" sz="1400" b="1">
                <a:solidFill>
                  <a:schemeClr val="bg1"/>
                </a:solidFill>
                <a:hlinkClick r:id="rId3">
                  <a:extLst>
                    <a:ext uri="{A12FA001-AC4F-418D-AE19-62706E023703}">
                      <ahyp:hlinkClr xmlns:ahyp="http://schemas.microsoft.com/office/drawing/2018/hyperlinkcolor" val="tx"/>
                    </a:ext>
                  </a:extLst>
                </a:hlinkClick>
              </a:rPr>
              <a:t>?»</a:t>
            </a:r>
            <a:endParaRPr lang="en-US" sz="1400" b="1">
              <a:solidFill>
                <a:schemeClr val="bg1"/>
              </a:solidFill>
            </a:endParaRPr>
          </a:p>
        </p:txBody>
      </p:sp>
      <p:sp>
        <p:nvSpPr>
          <p:cNvPr id="9" name="Rectangle 8">
            <a:extLst>
              <a:ext uri="{FF2B5EF4-FFF2-40B4-BE49-F238E27FC236}">
                <a16:creationId xmlns:a16="http://schemas.microsoft.com/office/drawing/2014/main" id="{DB97CF5E-98B6-5250-EFEB-8444F6E5EA64}"/>
              </a:ext>
            </a:extLst>
          </p:cNvPr>
          <p:cNvSpPr/>
          <p:nvPr/>
        </p:nvSpPr>
        <p:spPr>
          <a:xfrm>
            <a:off x="6275388" y="5559423"/>
            <a:ext cx="5473700"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0000"/>
              </a:lnSpc>
              <a:spcAft>
                <a:spcPts val="600"/>
              </a:spcAft>
              <a:buSzPct val="100000"/>
            </a:pPr>
            <a:r>
              <a:rPr lang="lv-LV" sz="1400" b="1">
                <a:solidFill>
                  <a:schemeClr val="tx1"/>
                </a:solidFill>
                <a:hlinkClick r:id="rId6">
                  <a:extLst>
                    <a:ext uri="{A12FA001-AC4F-418D-AE19-62706E023703}">
                      <ahyp:hlinkClr xmlns:ahyp="http://schemas.microsoft.com/office/drawing/2018/hyperlinkcolor" val="tx"/>
                    </a:ext>
                  </a:extLst>
                </a:hlinkClick>
              </a:rPr>
              <a:t>VUGD materiālu par plūdiem apkopojums</a:t>
            </a:r>
            <a:endParaRPr lang="lv-LV" sz="1400" b="1">
              <a:solidFill>
                <a:schemeClr val="tx1"/>
              </a:solidFill>
            </a:endParaRPr>
          </a:p>
        </p:txBody>
      </p:sp>
      <p:sp>
        <p:nvSpPr>
          <p:cNvPr id="10" name="Freeform 50">
            <a:extLst>
              <a:ext uri="{FF2B5EF4-FFF2-40B4-BE49-F238E27FC236}">
                <a16:creationId xmlns:a16="http://schemas.microsoft.com/office/drawing/2014/main" id="{A73BADFD-B587-11C9-EA10-9E94B7749268}"/>
              </a:ext>
            </a:extLst>
          </p:cNvPr>
          <p:cNvSpPr>
            <a:spLocks noChangeAspect="1"/>
          </p:cNvSpPr>
          <p:nvPr/>
        </p:nvSpPr>
        <p:spPr bwMode="auto">
          <a:xfrm>
            <a:off x="6405988" y="572420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sp>
        <p:nvSpPr>
          <p:cNvPr id="30" name="TextBox 29">
            <a:extLst>
              <a:ext uri="{FF2B5EF4-FFF2-40B4-BE49-F238E27FC236}">
                <a16:creationId xmlns:a16="http://schemas.microsoft.com/office/drawing/2014/main" id="{6EA076A3-9F56-F4D3-A944-A88916F82E7E}"/>
              </a:ext>
            </a:extLst>
          </p:cNvPr>
          <p:cNvSpPr txBox="1"/>
          <p:nvPr/>
        </p:nvSpPr>
        <p:spPr>
          <a:xfrm>
            <a:off x="442913" y="5559423"/>
            <a:ext cx="575999" cy="612775"/>
          </a:xfrm>
          <a:prstGeom prst="rect">
            <a:avLst/>
          </a:prstGeom>
          <a:solidFill>
            <a:srgbClr val="6F8087"/>
          </a:solidFill>
        </p:spPr>
        <p:txBody>
          <a:bodyPr wrap="square" lIns="0" tIns="0" rIns="0" bIns="0" rtlCol="0">
            <a:noAutofit/>
          </a:bodyPr>
          <a:lstStyle/>
          <a:p>
            <a:pPr marL="182880" indent="-182880">
              <a:lnSpc>
                <a:spcPct val="100000"/>
              </a:lnSpc>
              <a:spcAft>
                <a:spcPts val="600"/>
              </a:spcAft>
              <a:buSzPct val="100000"/>
              <a:buFont typeface="Arial"/>
              <a:buChar char="•"/>
            </a:pPr>
            <a:endParaRPr lang="lv-LV" sz="1600"/>
          </a:p>
        </p:txBody>
      </p:sp>
      <p:sp>
        <p:nvSpPr>
          <p:cNvPr id="31" name="Freeform 50">
            <a:extLst>
              <a:ext uri="{FF2B5EF4-FFF2-40B4-BE49-F238E27FC236}">
                <a16:creationId xmlns:a16="http://schemas.microsoft.com/office/drawing/2014/main" id="{E0BC72B1-58FB-C832-5C36-1189E2A14F05}"/>
              </a:ext>
            </a:extLst>
          </p:cNvPr>
          <p:cNvSpPr>
            <a:spLocks noChangeAspect="1"/>
          </p:cNvSpPr>
          <p:nvPr/>
        </p:nvSpPr>
        <p:spPr bwMode="auto">
          <a:xfrm>
            <a:off x="590235" y="572420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83"/>
          </a:p>
        </p:txBody>
      </p:sp>
      <p:grpSp>
        <p:nvGrpSpPr>
          <p:cNvPr id="3" name="Group 2">
            <a:extLst>
              <a:ext uri="{FF2B5EF4-FFF2-40B4-BE49-F238E27FC236}">
                <a16:creationId xmlns:a16="http://schemas.microsoft.com/office/drawing/2014/main" id="{07648A01-9EAA-EE3B-87A7-B28CB5C62283}"/>
              </a:ext>
            </a:extLst>
          </p:cNvPr>
          <p:cNvGrpSpPr/>
          <p:nvPr/>
        </p:nvGrpSpPr>
        <p:grpSpPr>
          <a:xfrm>
            <a:off x="9190780" y="159786"/>
            <a:ext cx="2558308" cy="217488"/>
            <a:chOff x="9190780" y="159786"/>
            <a:chExt cx="2558308" cy="217488"/>
          </a:xfrm>
        </p:grpSpPr>
        <p:sp>
          <p:nvSpPr>
            <p:cNvPr id="5" name="Rectangle 4">
              <a:extLst>
                <a:ext uri="{FF2B5EF4-FFF2-40B4-BE49-F238E27FC236}">
                  <a16:creationId xmlns:a16="http://schemas.microsoft.com/office/drawing/2014/main" id="{E9343B9E-9501-86AF-3949-2CB0286E0558}"/>
                </a:ext>
              </a:extLst>
            </p:cNvPr>
            <p:cNvSpPr/>
            <p:nvPr/>
          </p:nvSpPr>
          <p:spPr>
            <a:xfrm>
              <a:off x="9432606" y="159786"/>
              <a:ext cx="1833251"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Rīcība</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tastrof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gadījumā</a:t>
              </a:r>
              <a:endParaRPr kumimoji="0" lang="en-US" sz="800" b="1" i="0" u="none" strike="noStrike" kern="0" cap="none" spc="0" normalizeH="0" baseline="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F8146448-1CBD-596C-CFF1-2EB7DC2F3168}"/>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29BFD0AC-9EC8-0C87-2A0E-9BD525212EBE}"/>
                </a:ext>
              </a:extLst>
            </p:cNvPr>
            <p:cNvSpPr/>
            <p:nvPr/>
          </p:nvSpPr>
          <p:spPr>
            <a:xfrm>
              <a:off x="9190780" y="159786"/>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6</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33427D91-B0EA-CE86-4200-8DC1B40460E0}"/>
                </a:ext>
              </a:extLst>
            </p:cNvPr>
            <p:cNvSpPr/>
            <p:nvPr/>
          </p:nvSpPr>
          <p:spPr>
            <a:xfrm>
              <a:off x="11533088" y="159786"/>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6</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2290747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2087,36,Izmantotie avoti (2/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1cb120f-d312-4c6b-a4cc-bcc7f473426d">
      <UserInfo>
        <DisplayName>Annemarija Apine (LV)</DisplayName>
        <AccountId>12</AccountId>
        <AccountType/>
      </UserInfo>
      <UserInfo>
        <DisplayName>Petro Petrashko (UA)</DisplayName>
        <AccountId>118</AccountId>
        <AccountType/>
      </UserInfo>
    </SharedWithUsers>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481255-EA56-4F4C-90A3-4605E2895C6F}">
  <ds:schemaRefs>
    <ds:schemaRef ds:uri="http://schemas.microsoft.com/office/2006/documentManagement/types"/>
    <ds:schemaRef ds:uri="http://purl.org/dc/terms/"/>
    <ds:schemaRef ds:uri="http://schemas.microsoft.com/office/infopath/2007/PartnerControls"/>
    <ds:schemaRef ds:uri="http://schemas.microsoft.com/office/2006/metadata/properties"/>
    <ds:schemaRef ds:uri="http://purl.org/dc/elements/1.1/"/>
    <ds:schemaRef ds:uri="51cb120f-d312-4c6b-a4cc-bcc7f473426d"/>
    <ds:schemaRef ds:uri="http://schemas.openxmlformats.org/package/2006/metadata/core-properties"/>
    <ds:schemaRef ds:uri="http://purl.org/dc/dcmitype/"/>
    <ds:schemaRef ds:uri="d4c41ca5-56e0-486b-8028-8e1cdea398f5"/>
    <ds:schemaRef ds:uri="http://www.w3.org/XML/1998/namespace"/>
  </ds:schemaRefs>
</ds:datastoreItem>
</file>

<file path=customXml/itemProps2.xml><?xml version="1.0" encoding="utf-8"?>
<ds:datastoreItem xmlns:ds="http://schemas.openxmlformats.org/officeDocument/2006/customXml" ds:itemID="{96691079-E220-4B92-8CC5-DD838F083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8D0FF63-4F60-4340-A249-7874CC7B78A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9</TotalTime>
  <Words>5456</Words>
  <Application>Microsoft Office PowerPoint</Application>
  <PresentationFormat>Widescreen</PresentationFormat>
  <Paragraphs>532</Paragraphs>
  <Slides>36</Slides>
  <Notes>3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3" baseType="lpstr">
      <vt:lpstr>Arial</vt:lpstr>
      <vt:lpstr>Calibri</vt:lpstr>
      <vt:lpstr>Georgia</vt:lpstr>
      <vt:lpstr>Open Sans</vt:lpstr>
      <vt:lpstr>Times New Roman</vt:lpstr>
      <vt:lpstr>PwC</vt:lpstr>
      <vt:lpstr>think-cell Slide</vt:lpstr>
      <vt:lpstr>PowerPoint Presentation</vt:lpstr>
      <vt:lpstr>Uzdevumi</vt:lpstr>
      <vt:lpstr>Satura rādītājs</vt:lpstr>
      <vt:lpstr>Ievaddiskusija ar izglītojamajiem par gatavību ārkārtas situācijām</vt:lpstr>
      <vt:lpstr>Katastrofu iedalījums atbilstoši cēlonim Dabas katastrofas</vt:lpstr>
      <vt:lpstr>Katastrofu iedalījums atbilstoši cēlonim Antropogēnās jeb cilvēku izraisītās katastrofas </vt:lpstr>
      <vt:lpstr>6.1. Rīcība dabas katastrofu gadījumā</vt:lpstr>
      <vt:lpstr>Meža un kūdras purvu ugunsgrēki Kā rīkoties?</vt:lpstr>
      <vt:lpstr>Pali, plūdi un vējuzplūdi  Kā rīkoties?</vt:lpstr>
      <vt:lpstr>Lietusgāzes, ilgstošas lietavas un krusa Kā rīkoties?</vt:lpstr>
      <vt:lpstr>Negaiss un stiprs vējš Kā rīkoties? (1/4)</vt:lpstr>
      <vt:lpstr>Negaiss un stiprs vējš Kā rīkoties? (2/4)</vt:lpstr>
      <vt:lpstr>Negaiss un stiprs vējš Kā rīkoties? (3/4)</vt:lpstr>
      <vt:lpstr>Negaiss un stiprs vējš Kā rīkoties? (4/4)</vt:lpstr>
      <vt:lpstr>Stiprs sals, karstums, sausums Kā rīkoties?</vt:lpstr>
      <vt:lpstr>Sniegs un putenis, apledojums un slapja sniega nogulums Kā rīkoties?</vt:lpstr>
      <vt:lpstr>Zemestrīces  Kā rīkoties?</vt:lpstr>
      <vt:lpstr>6.2. Rīcība antropogēno katastrofu gadījumā</vt:lpstr>
      <vt:lpstr>Ugunsgrēki Kā rīkoties?</vt:lpstr>
      <vt:lpstr>Autotransporta avārija Kā rīkoties?</vt:lpstr>
      <vt:lpstr>Būvju sabrukums Kā rīkoties?</vt:lpstr>
      <vt:lpstr>Bīstamo ķīmisko vielu noplūde objektā Kā rīkoties? (1/2)</vt:lpstr>
      <vt:lpstr>Bīstamo ķīmisko vielu noplūde objektā Kā rīkoties? (2/2)</vt:lpstr>
      <vt:lpstr>Radiācijas avārijas Kā rīkoties? (1/4)</vt:lpstr>
      <vt:lpstr>Radiācijas avārijas Kā rīkoties? (2/4)</vt:lpstr>
      <vt:lpstr>Radiācijas avārijas Kā rīkoties? (3/4)</vt:lpstr>
      <vt:lpstr>Radiācijas avārijas Kā rīkoties? (4/4)</vt:lpstr>
      <vt:lpstr>6.3. Individuālā noturība</vt:lpstr>
      <vt:lpstr>Īslaicīgas evakuācijas gadījumā nepieciešamās lietas un piederumi </vt:lpstr>
      <vt:lpstr>Ilgstošas evakuācijas gadījumā nepieciešamās lietas un piederumi </vt:lpstr>
      <vt:lpstr>Mājas rezerves </vt:lpstr>
      <vt:lpstr>Evakuācija</vt:lpstr>
      <vt:lpstr>Patvertņu izveide un to prasības</vt:lpstr>
      <vt:lpstr>Patvertņu izveide un to prasības</vt:lpstr>
      <vt:lpstr>Izmantotie avoti (1/2)</vt:lpstr>
      <vt:lpstr>Izmantotie avoti (2/2)</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Sindija Kirsteine (LV)</cp:lastModifiedBy>
  <cp:revision>14</cp:revision>
  <dcterms:created xsi:type="dcterms:W3CDTF">2024-05-09T17:46:36Z</dcterms:created>
  <dcterms:modified xsi:type="dcterms:W3CDTF">2024-09-02T07:26: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ies>
</file>